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1"/>
  </p:notesMasterIdLst>
  <p:sldIdLst>
    <p:sldId id="258" r:id="rId2"/>
    <p:sldId id="349" r:id="rId3"/>
    <p:sldId id="356" r:id="rId4"/>
    <p:sldId id="289" r:id="rId5"/>
    <p:sldId id="362" r:id="rId6"/>
    <p:sldId id="363" r:id="rId7"/>
    <p:sldId id="319" r:id="rId8"/>
    <p:sldId id="364" r:id="rId9"/>
    <p:sldId id="348" r:id="rId10"/>
  </p:sldIdLst>
  <p:sldSz cx="9144000" cy="6858000" type="screen4x3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45713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1pPr>
    <a:lvl2pPr marL="0" marR="0" indent="457136" algn="l" defTabSz="45713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2pPr>
    <a:lvl3pPr marL="0" marR="0" indent="914272" algn="l" defTabSz="45713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3pPr>
    <a:lvl4pPr marL="0" marR="0" indent="1371407" algn="l" defTabSz="45713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4pPr>
    <a:lvl5pPr marL="0" marR="0" indent="1828543" algn="l" defTabSz="45713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5pPr>
    <a:lvl6pPr marL="0" marR="0" indent="2285679" algn="l" defTabSz="45713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6pPr>
    <a:lvl7pPr marL="0" marR="0" indent="2742814" algn="l" defTabSz="45713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7pPr>
    <a:lvl8pPr marL="0" marR="0" indent="3199950" algn="l" defTabSz="45713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8pPr>
    <a:lvl9pPr marL="0" marR="0" indent="3657086" algn="l" defTabSz="45713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DC9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FD7E7"/>
          </a:solidFill>
        </a:fill>
      </a:tcStyle>
    </a:wholeTbl>
    <a:band2H>
      <a:tcTxStyle/>
      <a:tcStyle>
        <a:tcBdr/>
        <a:fill>
          <a:solidFill>
            <a:srgbClr val="E8ECF4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014" autoAdjust="0"/>
    <p:restoredTop sz="87638" autoAdjust="0"/>
  </p:normalViewPr>
  <p:slideViewPr>
    <p:cSldViewPr snapToGrid="0">
      <p:cViewPr>
        <p:scale>
          <a:sx n="80" d="100"/>
          <a:sy n="80" d="100"/>
        </p:scale>
        <p:origin x="-66" y="2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550"/>
    </p:cViewPr>
  </p:sorterViewPr>
  <p:notesViewPr>
    <p:cSldViewPr snapToGrid="0">
      <p:cViewPr varScale="1">
        <p:scale>
          <a:sx n="52" d="100"/>
          <a:sy n="52" d="100"/>
        </p:scale>
        <p:origin x="201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65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i Remco Fischer" userId="7d5f5a56-014a-4582-8252-29b331f38be1" providerId="ADAL" clId="{1F88C6E0-FD6D-46A4-9CC8-5CC8EC7F96FC}"/>
    <pc:docChg chg="custSel modSld">
      <pc:chgData name="Kai Remco Fischer" userId="7d5f5a56-014a-4582-8252-29b331f38be1" providerId="ADAL" clId="{1F88C6E0-FD6D-46A4-9CC8-5CC8EC7F96FC}" dt="2019-02-05T22:37:03.479" v="9324" actId="20577"/>
      <pc:docMkLst>
        <pc:docMk/>
      </pc:docMkLst>
      <pc:sldChg chg="modNotesTx">
        <pc:chgData name="Kai Remco Fischer" userId="7d5f5a56-014a-4582-8252-29b331f38be1" providerId="ADAL" clId="{1F88C6E0-FD6D-46A4-9CC8-5CC8EC7F96FC}" dt="2019-02-05T21:05:18.199" v="850" actId="20577"/>
        <pc:sldMkLst>
          <pc:docMk/>
          <pc:sldMk cId="0" sldId="258"/>
        </pc:sldMkLst>
      </pc:sldChg>
      <pc:sldChg chg="modNotesTx">
        <pc:chgData name="Kai Remco Fischer" userId="7d5f5a56-014a-4582-8252-29b331f38be1" providerId="ADAL" clId="{1F88C6E0-FD6D-46A4-9CC8-5CC8EC7F96FC}" dt="2019-02-05T22:31:24.421" v="9220" actId="20577"/>
        <pc:sldMkLst>
          <pc:docMk/>
          <pc:sldMk cId="0" sldId="260"/>
        </pc:sldMkLst>
      </pc:sldChg>
      <pc:sldChg chg="modNotesTx">
        <pc:chgData name="Kai Remco Fischer" userId="7d5f5a56-014a-4582-8252-29b331f38be1" providerId="ADAL" clId="{1F88C6E0-FD6D-46A4-9CC8-5CC8EC7F96FC}" dt="2019-02-05T22:29:26.376" v="9179" actId="20577"/>
        <pc:sldMkLst>
          <pc:docMk/>
          <pc:sldMk cId="0" sldId="261"/>
        </pc:sldMkLst>
      </pc:sldChg>
      <pc:sldChg chg="modNotesTx">
        <pc:chgData name="Kai Remco Fischer" userId="7d5f5a56-014a-4582-8252-29b331f38be1" providerId="ADAL" clId="{1F88C6E0-FD6D-46A4-9CC8-5CC8EC7F96FC}" dt="2019-02-05T22:03:41.147" v="8096" actId="20577"/>
        <pc:sldMkLst>
          <pc:docMk/>
          <pc:sldMk cId="0" sldId="267"/>
        </pc:sldMkLst>
      </pc:sldChg>
      <pc:sldChg chg="modNotesTx">
        <pc:chgData name="Kai Remco Fischer" userId="7d5f5a56-014a-4582-8252-29b331f38be1" providerId="ADAL" clId="{1F88C6E0-FD6D-46A4-9CC8-5CC8EC7F96FC}" dt="2019-02-05T21:45:40.520" v="6889" actId="20577"/>
        <pc:sldMkLst>
          <pc:docMk/>
          <pc:sldMk cId="3136479382" sldId="284"/>
        </pc:sldMkLst>
      </pc:sldChg>
      <pc:sldChg chg="modNotesTx">
        <pc:chgData name="Kai Remco Fischer" userId="7d5f5a56-014a-4582-8252-29b331f38be1" providerId="ADAL" clId="{1F88C6E0-FD6D-46A4-9CC8-5CC8EC7F96FC}" dt="2019-02-05T22:37:03.479" v="9324" actId="20577"/>
        <pc:sldMkLst>
          <pc:docMk/>
          <pc:sldMk cId="135610710" sldId="285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Shape 577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578" name="Shape 578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59139500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136" latinLnBrk="0">
      <a:defRPr sz="1200">
        <a:latin typeface="+mn-lt"/>
        <a:ea typeface="+mn-ea"/>
        <a:cs typeface="+mn-cs"/>
        <a:sym typeface="Calibri"/>
      </a:defRPr>
    </a:lvl1pPr>
    <a:lvl2pPr indent="228600" defTabSz="457136" latinLnBrk="0">
      <a:defRPr sz="1200">
        <a:latin typeface="+mn-lt"/>
        <a:ea typeface="+mn-ea"/>
        <a:cs typeface="+mn-cs"/>
        <a:sym typeface="Calibri"/>
      </a:defRPr>
    </a:lvl2pPr>
    <a:lvl3pPr indent="457200" defTabSz="457136" latinLnBrk="0">
      <a:defRPr sz="1200">
        <a:latin typeface="+mn-lt"/>
        <a:ea typeface="+mn-ea"/>
        <a:cs typeface="+mn-cs"/>
        <a:sym typeface="Calibri"/>
      </a:defRPr>
    </a:lvl3pPr>
    <a:lvl4pPr indent="685800" defTabSz="457136" latinLnBrk="0">
      <a:defRPr sz="1200">
        <a:latin typeface="+mn-lt"/>
        <a:ea typeface="+mn-ea"/>
        <a:cs typeface="+mn-cs"/>
        <a:sym typeface="Calibri"/>
      </a:defRPr>
    </a:lvl4pPr>
    <a:lvl5pPr indent="914400" defTabSz="457136" latinLnBrk="0">
      <a:defRPr sz="1200">
        <a:latin typeface="+mn-lt"/>
        <a:ea typeface="+mn-ea"/>
        <a:cs typeface="+mn-cs"/>
        <a:sym typeface="Calibri"/>
      </a:defRPr>
    </a:lvl5pPr>
    <a:lvl6pPr indent="1143000" defTabSz="457136" latinLnBrk="0">
      <a:defRPr sz="1200">
        <a:latin typeface="+mn-lt"/>
        <a:ea typeface="+mn-ea"/>
        <a:cs typeface="+mn-cs"/>
        <a:sym typeface="Calibri"/>
      </a:defRPr>
    </a:lvl6pPr>
    <a:lvl7pPr indent="1371600" defTabSz="457136" latinLnBrk="0">
      <a:defRPr sz="1200">
        <a:latin typeface="+mn-lt"/>
        <a:ea typeface="+mn-ea"/>
        <a:cs typeface="+mn-cs"/>
        <a:sym typeface="Calibri"/>
      </a:defRPr>
    </a:lvl7pPr>
    <a:lvl8pPr indent="1600200" defTabSz="457136" latinLnBrk="0">
      <a:defRPr sz="1200">
        <a:latin typeface="+mn-lt"/>
        <a:ea typeface="+mn-ea"/>
        <a:cs typeface="+mn-cs"/>
        <a:sym typeface="Calibri"/>
      </a:defRPr>
    </a:lvl8pPr>
    <a:lvl9pPr indent="1828800" defTabSz="457136" latinLnBrk="0"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This work has two fundamental sides or prongs. Or perhaps objectives.</a:t>
            </a:r>
          </a:p>
          <a:p>
            <a:endParaRPr lang="en-US" baseline="0" dirty="0"/>
          </a:p>
          <a:p>
            <a:r>
              <a:rPr lang="en-US" b="1" baseline="0" dirty="0"/>
              <a:t>Resilient financial institutions – resilient financial system.</a:t>
            </a:r>
          </a:p>
          <a:p>
            <a:endParaRPr lang="en-US" b="1" baseline="0" dirty="0"/>
          </a:p>
          <a:p>
            <a:r>
              <a:rPr lang="en-US" baseline="0" dirty="0"/>
              <a:t>On the one hand it aims to help FIs understand, assess, and react to the new realities of climate change – physical (meteorological,. hydrological), technological, and political. In other words, it aims FIs understand, assess and react to the risks and opportunities that climate change throws at them.</a:t>
            </a:r>
          </a:p>
          <a:p>
            <a:endParaRPr lang="en-US" baseline="0" dirty="0"/>
          </a:p>
          <a:p>
            <a:r>
              <a:rPr lang="en-US" b="1" baseline="0" dirty="0"/>
              <a:t>Proactive financial institutions – proactive financial systems that drive, enable and </a:t>
            </a:r>
            <a:r>
              <a:rPr lang="en-US" b="1" baseline="0" dirty="0" err="1"/>
              <a:t>catalyse</a:t>
            </a:r>
            <a:r>
              <a:rPr lang="en-US" b="1" baseline="0" dirty="0"/>
              <a:t> the economic transitions that we need, be it towards getting rid of greenhouse gas emissions or towards adapting societies to physical climate change.</a:t>
            </a:r>
          </a:p>
          <a:p>
            <a:endParaRPr lang="en-US" baseline="0" dirty="0"/>
          </a:p>
          <a:p>
            <a:r>
              <a:rPr lang="en-US" baseline="0" dirty="0"/>
              <a:t>On the other hand our work aims to help FIs and Governments understand how private finance – at the right scale and pace – can be mobilized to enable economic </a:t>
            </a:r>
            <a:r>
              <a:rPr lang="en-US" baseline="0" dirty="0" err="1"/>
              <a:t>decarbonisation</a:t>
            </a:r>
            <a:r>
              <a:rPr lang="en-US" baseline="0" dirty="0"/>
              <a:t> and climate-resilience. Rather than reacting to new realities this work understands the role of the finance sector as one of pro-actively financing, and as such enabling or </a:t>
            </a:r>
            <a:r>
              <a:rPr lang="en-US" baseline="0" dirty="0" err="1"/>
              <a:t>catalysing</a:t>
            </a:r>
            <a:r>
              <a:rPr lang="en-US" baseline="0" dirty="0"/>
              <a:t>, the climate economic transition towards decarbonization and climate-resilience.</a:t>
            </a:r>
          </a:p>
          <a:p>
            <a:endParaRPr lang="en-US" baseline="0" dirty="0"/>
          </a:p>
          <a:p>
            <a:r>
              <a:rPr lang="en-US" baseline="0" dirty="0"/>
              <a:t>We do that typically via peer-to-peer type platforms and leadership groups of </a:t>
            </a:r>
            <a:r>
              <a:rPr lang="en-US" baseline="0" dirty="0" err="1"/>
              <a:t>Fis</a:t>
            </a:r>
            <a:r>
              <a:rPr lang="en-US" baseline="0" dirty="0"/>
              <a:t>.</a:t>
            </a:r>
          </a:p>
          <a:p>
            <a:endParaRPr lang="en-US" baseline="0" dirty="0"/>
          </a:p>
          <a:p>
            <a:endParaRPr lang="de-DE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9461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ecies loss: 40% of Amphibians;</a:t>
            </a:r>
            <a:r>
              <a:rPr lang="en-US" baseline="0" dirty="0"/>
              <a:t> 33% of marine mammals and 33% of reef-forming corals are now at risk. IPBES report</a:t>
            </a:r>
          </a:p>
          <a:p>
            <a:r>
              <a:rPr lang="en-US" baseline="0" dirty="0"/>
              <a:t>IPCC: CO2 is now 415ppm, up 50% from before industrializ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1337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◼◼ </a:t>
            </a:r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nsition scenario models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A wide range of energy system, economic, and integrated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odels, which this report refers to in aggregate as transition scenario models, provide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levant scenarios for analysis. These models are capable of producing an internally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istent picture of how transition risk could evolve over time and across sectors and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ographies, and they can generate relevant macro-economic metrics for risk analysis.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y have been used in studies ranging from the Intergovernmental Panel on Climate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ange (IPCC) assessment reports to sector-specific analyses of climate change impacts.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spite these benefits, transition scenario models face significant limitations in corporate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sk analysis. Models often employ aggregated and high-level representations of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y-economy interactions, lacking specific quantification of scenario impacts at a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pany or industry level. Additionally, transition scenario models are oriented toward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in macro-economic and policy assessment environments, requiring additional interpretation</a:t>
            </a:r>
          </a:p>
          <a:p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 financial analysis.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◼◼ </a:t>
            </a:r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dit and sustainability experts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in banks are able to identify the link between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enarios and the creditworthiness of the borrowers. Using experts for bottom-up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sessment has significant precedent in risk management. Banks’ borrower risk assessments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 institution-specific processes that drive the competitiveness of their businesses.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alogous exercises, such as regulation-driven macro-economic stress-testing,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so embed institution-specific risk assessments that reflect expert input.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ert judgment alone, however, risks yielding inconsistent results. Experts could identify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variety of futures, and a wide range of methods, to assess risk at a borrower-level,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king judgments difficult to compare across sectors and institutions. Furthermore,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ch an assessment on its own is unlikely to be scalable at an institutional level. The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load created by a borrower-by-borrower assessment of impacts could quickly overwhelm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erts when applied to the whole of a portfolio.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◼◼ Finally, a variety of well-established </a:t>
            </a:r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chniques for credit risk modelling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 help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ablish the link between scenarios and credit risk. In the past decades, bank risk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agement functions have expanded dramatically, creating methodologies, tools, and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ameworks to assess and manage various institutional risks. In particular, since the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ancial crisis, regulators around the world have pushed for banks to develop advanced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ress testing infrastructure to ensure they can sustain systemic, macro-economic shocks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 well as idiosyncratic shocks. While there are differences, these stress testing exercises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 similar to scenario analysis in that both exercises consider the impact to the bank of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hypothetical scenario unfolding over time (see Box 1 for more detail on the differences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tween macro-economic and climate scenario analysis).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lying these techniques to transition risk, however, demands additional effort. These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ameworks will require new data sources and a modified conceptua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/>
          <a:lstStyle/>
          <a:p>
            <a:fld id="{7DD12170-B4D9-4504-9406-AC0F9EF8E6EC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442602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3311DB-C32A-CC46-90F4-CE205A9DE94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5521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1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20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463" indent="-333328">
              <a:spcBef>
                <a:spcPts val="600"/>
              </a:spcBef>
              <a:defRPr sz="2800"/>
            </a:lvl2pPr>
            <a:lvl3pPr marL="1234267" indent="-319995">
              <a:spcBef>
                <a:spcPts val="600"/>
              </a:spcBef>
              <a:defRPr sz="2800"/>
            </a:lvl3pPr>
            <a:lvl4pPr marL="1726957" indent="-355550">
              <a:spcBef>
                <a:spcPts val="600"/>
              </a:spcBef>
              <a:defRPr sz="2800"/>
            </a:lvl4pPr>
            <a:lvl5pPr marL="2184093" indent="-355550">
              <a:spcBef>
                <a:spcPts val="600"/>
              </a:spcBef>
              <a:buChar char="»"/>
              <a:defRPr sz="2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2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7201" y="1535112"/>
            <a:ext cx="4040189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 b="1"/>
            </a:lvl1pPr>
            <a:lvl2pPr marL="0" indent="457136">
              <a:spcBef>
                <a:spcPts val="500"/>
              </a:spcBef>
              <a:buSzTx/>
              <a:buFontTx/>
              <a:buNone/>
              <a:defRPr sz="2400" b="1"/>
            </a:lvl2pPr>
            <a:lvl3pPr marL="0" indent="914272">
              <a:spcBef>
                <a:spcPts val="500"/>
              </a:spcBef>
              <a:buSzTx/>
              <a:buFontTx/>
              <a:buNone/>
              <a:defRPr sz="2400" b="1"/>
            </a:lvl3pPr>
            <a:lvl4pPr marL="0" indent="1371407">
              <a:spcBef>
                <a:spcPts val="500"/>
              </a:spcBef>
              <a:buSzTx/>
              <a:buFontTx/>
              <a:buNone/>
              <a:defRPr sz="2400" b="1"/>
            </a:lvl4pPr>
            <a:lvl5pPr marL="0" indent="1828543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6" y="1535112"/>
            <a:ext cx="4041776" cy="639763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500"/>
              </a:spcBef>
              <a:buSzTx/>
              <a:buFontTx/>
              <a:buNone/>
              <a:defRPr sz="2400" b="1"/>
            </a:pPr>
            <a:endParaRPr/>
          </a:p>
        </p:txBody>
      </p:sp>
      <p:sp>
        <p:nvSpPr>
          <p:cNvPr id="13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3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Title Text"/>
          <p:cNvSpPr txBox="1">
            <a:spLocks noGrp="1"/>
          </p:cNvSpPr>
          <p:nvPr>
            <p:ph type="title"/>
          </p:nvPr>
        </p:nvSpPr>
        <p:spPr>
          <a:xfrm>
            <a:off x="457201" y="273050"/>
            <a:ext cx="3008315" cy="1162051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154" name="Body Level One…"/>
          <p:cNvSpPr txBox="1">
            <a:spLocks noGrp="1"/>
          </p:cNvSpPr>
          <p:nvPr>
            <p:ph type="body" idx="1"/>
          </p:nvPr>
        </p:nvSpPr>
        <p:spPr>
          <a:xfrm>
            <a:off x="3575051" y="273050"/>
            <a:ext cx="5111752" cy="5853114"/>
          </a:xfrm>
          <a:prstGeom prst="rect">
            <a:avLst/>
          </a:prstGeom>
        </p:spPr>
        <p:txBody>
          <a:bodyPr/>
          <a:lstStyle>
            <a:lvl5pPr marL="2194251" indent="-365708">
              <a:buChar char="»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5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1" y="1435102"/>
            <a:ext cx="3008315" cy="4691063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300"/>
              </a:spcBef>
              <a:buSzTx/>
              <a:buFontTx/>
              <a:buNone/>
              <a:defRPr sz="1400"/>
            </a:pPr>
            <a:endParaRPr/>
          </a:p>
        </p:txBody>
      </p:sp>
      <p:sp>
        <p:nvSpPr>
          <p:cNvPr id="15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Text"/>
          <p:cNvSpPr txBox="1">
            <a:spLocks noGrp="1"/>
          </p:cNvSpPr>
          <p:nvPr>
            <p:ph type="title"/>
          </p:nvPr>
        </p:nvSpPr>
        <p:spPr>
          <a:xfrm>
            <a:off x="1792289" y="4800601"/>
            <a:ext cx="5486401" cy="566739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164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89" y="612775"/>
            <a:ext cx="5486401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6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92289" y="5367339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457136">
              <a:spcBef>
                <a:spcPts val="300"/>
              </a:spcBef>
              <a:buSzTx/>
              <a:buFontTx/>
              <a:buNone/>
              <a:defRPr sz="1400"/>
            </a:lvl2pPr>
            <a:lvl3pPr marL="0" indent="914272">
              <a:spcBef>
                <a:spcPts val="300"/>
              </a:spcBef>
              <a:buSzTx/>
              <a:buFontTx/>
              <a:buNone/>
              <a:defRPr sz="1400"/>
            </a:lvl3pPr>
            <a:lvl4pPr marL="0" indent="1371407">
              <a:spcBef>
                <a:spcPts val="300"/>
              </a:spcBef>
              <a:buSzTx/>
              <a:buFontTx/>
              <a:buNone/>
              <a:defRPr sz="1400"/>
            </a:lvl4pPr>
            <a:lvl5pPr marL="0" indent="1828543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83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5pPr marL="2194251" indent="-365708">
              <a:buChar char="»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8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Title Text"/>
          <p:cNvSpPr txBox="1">
            <a:spLocks noGrp="1"/>
          </p:cNvSpPr>
          <p:nvPr>
            <p:ph type="title"/>
          </p:nvPr>
        </p:nvSpPr>
        <p:spPr>
          <a:xfrm>
            <a:off x="722312" y="4406901"/>
            <a:ext cx="7772401" cy="1362076"/>
          </a:xfrm>
          <a:prstGeom prst="rect">
            <a:avLst/>
          </a:prstGeom>
        </p:spPr>
        <p:txBody>
          <a:bodyPr anchor="t"/>
          <a:lstStyle>
            <a:lvl1pPr>
              <a:defRPr sz="4000" b="1" cap="all"/>
            </a:lvl1pPr>
          </a:lstStyle>
          <a:p>
            <a:r>
              <a:t>Title Text</a:t>
            </a:r>
          </a:p>
        </p:txBody>
      </p:sp>
      <p:sp>
        <p:nvSpPr>
          <p:cNvPr id="19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722312" y="2906715"/>
            <a:ext cx="7772401" cy="15001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457136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914272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1371407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1828543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9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01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463" indent="-333328">
              <a:spcBef>
                <a:spcPts val="600"/>
              </a:spcBef>
              <a:defRPr sz="2800"/>
            </a:lvl2pPr>
            <a:lvl3pPr marL="1234267" indent="-319995">
              <a:spcBef>
                <a:spcPts val="600"/>
              </a:spcBef>
              <a:defRPr sz="2800"/>
            </a:lvl3pPr>
            <a:lvl4pPr marL="1726957" indent="-355550">
              <a:spcBef>
                <a:spcPts val="600"/>
              </a:spcBef>
              <a:defRPr sz="2800"/>
            </a:lvl4pPr>
            <a:lvl5pPr marL="2184093" indent="-355550">
              <a:spcBef>
                <a:spcPts val="600"/>
              </a:spcBef>
              <a:buChar char="»"/>
              <a:defRPr sz="2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0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1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7201" y="1535112"/>
            <a:ext cx="4040189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 b="1"/>
            </a:lvl1pPr>
            <a:lvl2pPr marL="0" indent="457136">
              <a:spcBef>
                <a:spcPts val="500"/>
              </a:spcBef>
              <a:buSzTx/>
              <a:buFontTx/>
              <a:buNone/>
              <a:defRPr sz="2400" b="1"/>
            </a:lvl2pPr>
            <a:lvl3pPr marL="0" indent="914272">
              <a:spcBef>
                <a:spcPts val="500"/>
              </a:spcBef>
              <a:buSzTx/>
              <a:buFontTx/>
              <a:buNone/>
              <a:defRPr sz="2400" b="1"/>
            </a:lvl3pPr>
            <a:lvl4pPr marL="0" indent="1371407">
              <a:spcBef>
                <a:spcPts val="500"/>
              </a:spcBef>
              <a:buSzTx/>
              <a:buFontTx/>
              <a:buNone/>
              <a:defRPr sz="2400" b="1"/>
            </a:lvl4pPr>
            <a:lvl5pPr marL="0" indent="1828543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6" y="1535112"/>
            <a:ext cx="4041776" cy="639763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500"/>
              </a:spcBef>
              <a:buSzTx/>
              <a:buFontTx/>
              <a:buNone/>
              <a:defRPr sz="2400" b="1"/>
            </a:pPr>
            <a:endParaRPr/>
          </a:p>
        </p:txBody>
      </p:sp>
      <p:sp>
        <p:nvSpPr>
          <p:cNvPr id="21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Text"/>
          <p:cNvSpPr txBox="1">
            <a:spLocks noGrp="1"/>
          </p:cNvSpPr>
          <p:nvPr>
            <p:ph type="title"/>
          </p:nvPr>
        </p:nvSpPr>
        <p:spPr>
          <a:xfrm>
            <a:off x="722312" y="4406901"/>
            <a:ext cx="7772401" cy="1362076"/>
          </a:xfrm>
          <a:prstGeom prst="rect">
            <a:avLst/>
          </a:prstGeom>
        </p:spPr>
        <p:txBody>
          <a:bodyPr anchor="t"/>
          <a:lstStyle>
            <a:lvl1pPr>
              <a:defRPr sz="4000" b="1" cap="all"/>
            </a:lvl1pPr>
          </a:lstStyle>
          <a:p>
            <a:r>
              <a:t>Title Text</a:t>
            </a:r>
          </a:p>
        </p:txBody>
      </p:sp>
      <p:sp>
        <p:nvSpPr>
          <p:cNvPr id="3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722312" y="2906715"/>
            <a:ext cx="7772401" cy="15001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457136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914272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1371407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1828543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2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Title Text"/>
          <p:cNvSpPr txBox="1">
            <a:spLocks noGrp="1"/>
          </p:cNvSpPr>
          <p:nvPr>
            <p:ph type="title"/>
          </p:nvPr>
        </p:nvSpPr>
        <p:spPr>
          <a:xfrm>
            <a:off x="457201" y="273050"/>
            <a:ext cx="3008315" cy="1162051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235" name="Body Level One…"/>
          <p:cNvSpPr txBox="1">
            <a:spLocks noGrp="1"/>
          </p:cNvSpPr>
          <p:nvPr>
            <p:ph type="body" idx="1"/>
          </p:nvPr>
        </p:nvSpPr>
        <p:spPr>
          <a:xfrm>
            <a:off x="3575051" y="273050"/>
            <a:ext cx="5111752" cy="5853114"/>
          </a:xfrm>
          <a:prstGeom prst="rect">
            <a:avLst/>
          </a:prstGeom>
        </p:spPr>
        <p:txBody>
          <a:bodyPr/>
          <a:lstStyle>
            <a:lvl5pPr marL="2194251" indent="-365708">
              <a:buChar char="»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36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1" y="1435102"/>
            <a:ext cx="3008315" cy="4691063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300"/>
              </a:spcBef>
              <a:buSzTx/>
              <a:buFontTx/>
              <a:buNone/>
              <a:defRPr sz="1400"/>
            </a:pPr>
            <a:endParaRPr/>
          </a:p>
        </p:txBody>
      </p:sp>
      <p:sp>
        <p:nvSpPr>
          <p:cNvPr id="23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Title Text"/>
          <p:cNvSpPr txBox="1">
            <a:spLocks noGrp="1"/>
          </p:cNvSpPr>
          <p:nvPr>
            <p:ph type="title"/>
          </p:nvPr>
        </p:nvSpPr>
        <p:spPr>
          <a:xfrm>
            <a:off x="1792289" y="4800601"/>
            <a:ext cx="5486401" cy="566739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245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89" y="612775"/>
            <a:ext cx="5486401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4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92289" y="5367339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457136">
              <a:spcBef>
                <a:spcPts val="300"/>
              </a:spcBef>
              <a:buSzTx/>
              <a:buFontTx/>
              <a:buNone/>
              <a:defRPr sz="1400"/>
            </a:lvl2pPr>
            <a:lvl3pPr marL="0" indent="914272">
              <a:spcBef>
                <a:spcPts val="300"/>
              </a:spcBef>
              <a:buSzTx/>
              <a:buFontTx/>
              <a:buNone/>
              <a:defRPr sz="1400"/>
            </a:lvl3pPr>
            <a:lvl4pPr marL="0" indent="1371407">
              <a:spcBef>
                <a:spcPts val="300"/>
              </a:spcBef>
              <a:buSzTx/>
              <a:buFontTx/>
              <a:buNone/>
              <a:defRPr sz="1400"/>
            </a:lvl4pPr>
            <a:lvl5pPr marL="0" indent="1828543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4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Title Text"/>
          <p:cNvSpPr txBox="1">
            <a:spLocks noGrp="1"/>
          </p:cNvSpPr>
          <p:nvPr>
            <p:ph type="title"/>
          </p:nvPr>
        </p:nvSpPr>
        <p:spPr>
          <a:xfrm>
            <a:off x="685800" y="2130426"/>
            <a:ext cx="7772400" cy="1470026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5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>
                <a:solidFill>
                  <a:srgbClr val="888888"/>
                </a:solidFill>
              </a:defRPr>
            </a:lvl1pPr>
            <a:lvl2pPr marL="0" indent="457136">
              <a:buSzTx/>
              <a:buFontTx/>
              <a:buNone/>
              <a:defRPr>
                <a:solidFill>
                  <a:srgbClr val="888888"/>
                </a:solidFill>
              </a:defRPr>
            </a:lvl2pPr>
            <a:lvl3pPr marL="0" indent="914272">
              <a:buSzTx/>
              <a:buFontTx/>
              <a:buNone/>
              <a:defRPr>
                <a:solidFill>
                  <a:srgbClr val="888888"/>
                </a:solidFill>
              </a:defRPr>
            </a:lvl3pPr>
            <a:lvl4pPr marL="0" indent="1371407">
              <a:buSzTx/>
              <a:buFontTx/>
              <a:buNone/>
              <a:defRPr>
                <a:solidFill>
                  <a:srgbClr val="888888"/>
                </a:solidFill>
              </a:defRPr>
            </a:lvl4pPr>
            <a:lvl5pPr marL="0" indent="1828543">
              <a:buSzTx/>
              <a:buFontTx/>
              <a:buNone/>
              <a:defRPr>
                <a:solidFill>
                  <a:srgbClr val="888888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5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64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5pPr marL="2194251" indent="-365708">
              <a:buChar char="»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6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Title Text"/>
          <p:cNvSpPr txBox="1">
            <a:spLocks noGrp="1"/>
          </p:cNvSpPr>
          <p:nvPr>
            <p:ph type="title"/>
          </p:nvPr>
        </p:nvSpPr>
        <p:spPr>
          <a:xfrm>
            <a:off x="722312" y="4406901"/>
            <a:ext cx="7772401" cy="1362076"/>
          </a:xfrm>
          <a:prstGeom prst="rect">
            <a:avLst/>
          </a:prstGeom>
        </p:spPr>
        <p:txBody>
          <a:bodyPr anchor="t"/>
          <a:lstStyle>
            <a:lvl1pPr>
              <a:defRPr sz="4000" b="1" cap="all"/>
            </a:lvl1pPr>
          </a:lstStyle>
          <a:p>
            <a:r>
              <a:t>Title Text</a:t>
            </a:r>
          </a:p>
        </p:txBody>
      </p:sp>
      <p:sp>
        <p:nvSpPr>
          <p:cNvPr id="27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722312" y="2906715"/>
            <a:ext cx="7772401" cy="15001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457136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914272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1371407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1828543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7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82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463" indent="-333328">
              <a:spcBef>
                <a:spcPts val="600"/>
              </a:spcBef>
              <a:defRPr sz="2800"/>
            </a:lvl2pPr>
            <a:lvl3pPr marL="1234267" indent="-319995">
              <a:spcBef>
                <a:spcPts val="600"/>
              </a:spcBef>
              <a:defRPr sz="2800"/>
            </a:lvl3pPr>
            <a:lvl4pPr marL="1726957" indent="-355550">
              <a:spcBef>
                <a:spcPts val="600"/>
              </a:spcBef>
              <a:defRPr sz="2800"/>
            </a:lvl4pPr>
            <a:lvl5pPr marL="2184093" indent="-355550">
              <a:spcBef>
                <a:spcPts val="600"/>
              </a:spcBef>
              <a:buChar char="»"/>
              <a:defRPr sz="2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8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9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7201" y="1535112"/>
            <a:ext cx="4040189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 b="1"/>
            </a:lvl1pPr>
            <a:lvl2pPr marL="0" indent="457136">
              <a:spcBef>
                <a:spcPts val="500"/>
              </a:spcBef>
              <a:buSzTx/>
              <a:buFontTx/>
              <a:buNone/>
              <a:defRPr sz="2400" b="1"/>
            </a:lvl2pPr>
            <a:lvl3pPr marL="0" indent="914272">
              <a:spcBef>
                <a:spcPts val="500"/>
              </a:spcBef>
              <a:buSzTx/>
              <a:buFontTx/>
              <a:buNone/>
              <a:defRPr sz="2400" b="1"/>
            </a:lvl3pPr>
            <a:lvl4pPr marL="0" indent="1371407">
              <a:spcBef>
                <a:spcPts val="500"/>
              </a:spcBef>
              <a:buSzTx/>
              <a:buFontTx/>
              <a:buNone/>
              <a:defRPr sz="2400" b="1"/>
            </a:lvl4pPr>
            <a:lvl5pPr marL="0" indent="1828543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9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6" y="1535112"/>
            <a:ext cx="4041776" cy="639763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500"/>
              </a:spcBef>
              <a:buSzTx/>
              <a:buFontTx/>
              <a:buNone/>
              <a:defRPr sz="2400" b="1"/>
            </a:pPr>
            <a:endParaRPr/>
          </a:p>
        </p:txBody>
      </p:sp>
      <p:sp>
        <p:nvSpPr>
          <p:cNvPr id="29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0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9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463" indent="-333328">
              <a:spcBef>
                <a:spcPts val="600"/>
              </a:spcBef>
              <a:defRPr sz="2800"/>
            </a:lvl2pPr>
            <a:lvl3pPr marL="1234267" indent="-319995">
              <a:spcBef>
                <a:spcPts val="600"/>
              </a:spcBef>
              <a:defRPr sz="2800"/>
            </a:lvl3pPr>
            <a:lvl4pPr marL="1726957" indent="-355550">
              <a:spcBef>
                <a:spcPts val="600"/>
              </a:spcBef>
              <a:defRPr sz="2800"/>
            </a:lvl4pPr>
            <a:lvl5pPr marL="2361868" indent="-533325">
              <a:spcBef>
                <a:spcPts val="600"/>
              </a:spcBef>
              <a:defRPr sz="2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Title Text"/>
          <p:cNvSpPr txBox="1">
            <a:spLocks noGrp="1"/>
          </p:cNvSpPr>
          <p:nvPr>
            <p:ph type="title"/>
          </p:nvPr>
        </p:nvSpPr>
        <p:spPr>
          <a:xfrm>
            <a:off x="457201" y="273050"/>
            <a:ext cx="3008315" cy="1162051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316" name="Body Level One…"/>
          <p:cNvSpPr txBox="1">
            <a:spLocks noGrp="1"/>
          </p:cNvSpPr>
          <p:nvPr>
            <p:ph type="body" idx="1"/>
          </p:nvPr>
        </p:nvSpPr>
        <p:spPr>
          <a:xfrm>
            <a:off x="3575051" y="273050"/>
            <a:ext cx="5111752" cy="5853114"/>
          </a:xfrm>
          <a:prstGeom prst="rect">
            <a:avLst/>
          </a:prstGeom>
        </p:spPr>
        <p:txBody>
          <a:bodyPr/>
          <a:lstStyle>
            <a:lvl5pPr marL="2194251" indent="-365708">
              <a:buChar char="»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17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1" y="1435102"/>
            <a:ext cx="3008315" cy="4691063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300"/>
              </a:spcBef>
              <a:buSzTx/>
              <a:buFontTx/>
              <a:buNone/>
              <a:defRPr sz="1400"/>
            </a:pPr>
            <a:endParaRPr/>
          </a:p>
        </p:txBody>
      </p:sp>
      <p:sp>
        <p:nvSpPr>
          <p:cNvPr id="31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Title Text"/>
          <p:cNvSpPr txBox="1">
            <a:spLocks noGrp="1"/>
          </p:cNvSpPr>
          <p:nvPr>
            <p:ph type="title"/>
          </p:nvPr>
        </p:nvSpPr>
        <p:spPr>
          <a:xfrm>
            <a:off x="1792289" y="4800601"/>
            <a:ext cx="5486401" cy="566739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326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89" y="612775"/>
            <a:ext cx="5486401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2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92289" y="5367339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457136">
              <a:spcBef>
                <a:spcPts val="300"/>
              </a:spcBef>
              <a:buSzTx/>
              <a:buFontTx/>
              <a:buNone/>
              <a:defRPr sz="1400"/>
            </a:lvl2pPr>
            <a:lvl3pPr marL="0" indent="914272">
              <a:spcBef>
                <a:spcPts val="300"/>
              </a:spcBef>
              <a:buSzTx/>
              <a:buFontTx/>
              <a:buNone/>
              <a:defRPr sz="1400"/>
            </a:lvl3pPr>
            <a:lvl4pPr marL="0" indent="1371407">
              <a:spcBef>
                <a:spcPts val="300"/>
              </a:spcBef>
              <a:buSzTx/>
              <a:buFontTx/>
              <a:buNone/>
              <a:defRPr sz="1400"/>
            </a:lvl4pPr>
            <a:lvl5pPr marL="0" indent="1828543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2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Title Text"/>
          <p:cNvSpPr txBox="1">
            <a:spLocks noGrp="1"/>
          </p:cNvSpPr>
          <p:nvPr>
            <p:ph type="title"/>
          </p:nvPr>
        </p:nvSpPr>
        <p:spPr>
          <a:xfrm>
            <a:off x="685800" y="2130426"/>
            <a:ext cx="7772400" cy="1470026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3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>
                <a:solidFill>
                  <a:srgbClr val="888888"/>
                </a:solidFill>
              </a:defRPr>
            </a:lvl1pPr>
            <a:lvl2pPr marL="0" indent="457136">
              <a:buSzTx/>
              <a:buFontTx/>
              <a:buNone/>
              <a:defRPr>
                <a:solidFill>
                  <a:srgbClr val="888888"/>
                </a:solidFill>
              </a:defRPr>
            </a:lvl2pPr>
            <a:lvl3pPr marL="0" indent="914272">
              <a:buSzTx/>
              <a:buFontTx/>
              <a:buNone/>
              <a:defRPr>
                <a:solidFill>
                  <a:srgbClr val="888888"/>
                </a:solidFill>
              </a:defRPr>
            </a:lvl3pPr>
            <a:lvl4pPr marL="0" indent="1371407">
              <a:buSzTx/>
              <a:buFontTx/>
              <a:buNone/>
              <a:defRPr>
                <a:solidFill>
                  <a:srgbClr val="888888"/>
                </a:solidFill>
              </a:defRPr>
            </a:lvl4pPr>
            <a:lvl5pPr marL="0" indent="1828543">
              <a:buSzTx/>
              <a:buFontTx/>
              <a:buNone/>
              <a:defRPr>
                <a:solidFill>
                  <a:srgbClr val="888888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3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45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5pPr marL="2194251" indent="-365708">
              <a:buChar char="»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4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" name="Title Text"/>
          <p:cNvSpPr txBox="1">
            <a:spLocks noGrp="1"/>
          </p:cNvSpPr>
          <p:nvPr>
            <p:ph type="title"/>
          </p:nvPr>
        </p:nvSpPr>
        <p:spPr>
          <a:xfrm>
            <a:off x="722312" y="4406901"/>
            <a:ext cx="7772401" cy="1362076"/>
          </a:xfrm>
          <a:prstGeom prst="rect">
            <a:avLst/>
          </a:prstGeom>
        </p:spPr>
        <p:txBody>
          <a:bodyPr anchor="t"/>
          <a:lstStyle>
            <a:lvl1pPr>
              <a:defRPr sz="4000" b="1" cap="all"/>
            </a:lvl1pPr>
          </a:lstStyle>
          <a:p>
            <a:r>
              <a:t>Title Text</a:t>
            </a:r>
          </a:p>
        </p:txBody>
      </p:sp>
      <p:sp>
        <p:nvSpPr>
          <p:cNvPr id="35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722312" y="2906715"/>
            <a:ext cx="7772401" cy="15001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457136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914272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1371407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1828543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5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6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463" indent="-333328">
              <a:spcBef>
                <a:spcPts val="600"/>
              </a:spcBef>
              <a:defRPr sz="2800"/>
            </a:lvl2pPr>
            <a:lvl3pPr marL="1234267" indent="-319995">
              <a:spcBef>
                <a:spcPts val="600"/>
              </a:spcBef>
              <a:defRPr sz="2800"/>
            </a:lvl3pPr>
            <a:lvl4pPr marL="1726957" indent="-355550">
              <a:spcBef>
                <a:spcPts val="600"/>
              </a:spcBef>
              <a:defRPr sz="2800"/>
            </a:lvl4pPr>
            <a:lvl5pPr marL="2184093" indent="-355550">
              <a:spcBef>
                <a:spcPts val="600"/>
              </a:spcBef>
              <a:buChar char="»"/>
              <a:defRPr sz="2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6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7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7201" y="1535112"/>
            <a:ext cx="4040189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 b="1"/>
            </a:lvl1pPr>
            <a:lvl2pPr marL="0" indent="457136">
              <a:spcBef>
                <a:spcPts val="500"/>
              </a:spcBef>
              <a:buSzTx/>
              <a:buFontTx/>
              <a:buNone/>
              <a:defRPr sz="2400" b="1"/>
            </a:lvl2pPr>
            <a:lvl3pPr marL="0" indent="914272">
              <a:spcBef>
                <a:spcPts val="500"/>
              </a:spcBef>
              <a:buSzTx/>
              <a:buFontTx/>
              <a:buNone/>
              <a:defRPr sz="2400" b="1"/>
            </a:lvl3pPr>
            <a:lvl4pPr marL="0" indent="1371407">
              <a:spcBef>
                <a:spcPts val="500"/>
              </a:spcBef>
              <a:buSzTx/>
              <a:buFontTx/>
              <a:buNone/>
              <a:defRPr sz="2400" b="1"/>
            </a:lvl4pPr>
            <a:lvl5pPr marL="0" indent="1828543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7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6" y="1535112"/>
            <a:ext cx="4041776" cy="639763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500"/>
              </a:spcBef>
              <a:buSzTx/>
              <a:buFontTx/>
              <a:buNone/>
              <a:defRPr sz="2400" b="1"/>
            </a:pPr>
            <a:endParaRPr/>
          </a:p>
        </p:txBody>
      </p:sp>
      <p:sp>
        <p:nvSpPr>
          <p:cNvPr id="37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8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7201" y="1535112"/>
            <a:ext cx="4040189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 b="1"/>
            </a:lvl1pPr>
            <a:lvl2pPr marL="0" indent="457136">
              <a:spcBef>
                <a:spcPts val="500"/>
              </a:spcBef>
              <a:buSzTx/>
              <a:buFontTx/>
              <a:buNone/>
              <a:defRPr sz="2400" b="1"/>
            </a:lvl2pPr>
            <a:lvl3pPr marL="0" indent="914272">
              <a:spcBef>
                <a:spcPts val="500"/>
              </a:spcBef>
              <a:buSzTx/>
              <a:buFontTx/>
              <a:buNone/>
              <a:defRPr sz="2400" b="1"/>
            </a:lvl3pPr>
            <a:lvl4pPr marL="0" indent="1371407">
              <a:spcBef>
                <a:spcPts val="500"/>
              </a:spcBef>
              <a:buSzTx/>
              <a:buFontTx/>
              <a:buNone/>
              <a:defRPr sz="2400" b="1"/>
            </a:lvl4pPr>
            <a:lvl5pPr marL="0" indent="1828543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6" y="1535112"/>
            <a:ext cx="4041776" cy="639763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500"/>
              </a:spcBef>
              <a:buSzTx/>
              <a:buFontTx/>
              <a:buNone/>
              <a:defRPr sz="2400" b="1"/>
            </a:pPr>
            <a:endParaRPr/>
          </a:p>
        </p:txBody>
      </p:sp>
      <p:sp>
        <p:nvSpPr>
          <p:cNvPr id="5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Title Text"/>
          <p:cNvSpPr txBox="1">
            <a:spLocks noGrp="1"/>
          </p:cNvSpPr>
          <p:nvPr>
            <p:ph type="title"/>
          </p:nvPr>
        </p:nvSpPr>
        <p:spPr>
          <a:xfrm>
            <a:off x="457201" y="273050"/>
            <a:ext cx="3008315" cy="1162051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397" name="Body Level One…"/>
          <p:cNvSpPr txBox="1">
            <a:spLocks noGrp="1"/>
          </p:cNvSpPr>
          <p:nvPr>
            <p:ph type="body" idx="1"/>
          </p:nvPr>
        </p:nvSpPr>
        <p:spPr>
          <a:xfrm>
            <a:off x="3575051" y="273050"/>
            <a:ext cx="5111752" cy="5853114"/>
          </a:xfrm>
          <a:prstGeom prst="rect">
            <a:avLst/>
          </a:prstGeom>
        </p:spPr>
        <p:txBody>
          <a:bodyPr/>
          <a:lstStyle>
            <a:lvl5pPr marL="2194251" indent="-365708">
              <a:buChar char="»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98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1" y="1435102"/>
            <a:ext cx="3008315" cy="4691063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300"/>
              </a:spcBef>
              <a:buSzTx/>
              <a:buFontTx/>
              <a:buNone/>
              <a:defRPr sz="1400"/>
            </a:pPr>
            <a:endParaRPr/>
          </a:p>
        </p:txBody>
      </p:sp>
      <p:sp>
        <p:nvSpPr>
          <p:cNvPr id="39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Title Text"/>
          <p:cNvSpPr txBox="1">
            <a:spLocks noGrp="1"/>
          </p:cNvSpPr>
          <p:nvPr>
            <p:ph type="title"/>
          </p:nvPr>
        </p:nvSpPr>
        <p:spPr>
          <a:xfrm>
            <a:off x="1792289" y="4800601"/>
            <a:ext cx="5486401" cy="566739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407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89" y="612775"/>
            <a:ext cx="5486401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0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92289" y="5367339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457136">
              <a:spcBef>
                <a:spcPts val="300"/>
              </a:spcBef>
              <a:buSzTx/>
              <a:buFontTx/>
              <a:buNone/>
              <a:defRPr sz="1400"/>
            </a:lvl2pPr>
            <a:lvl3pPr marL="0" indent="914272">
              <a:spcBef>
                <a:spcPts val="300"/>
              </a:spcBef>
              <a:buSzTx/>
              <a:buFontTx/>
              <a:buNone/>
              <a:defRPr sz="1400"/>
            </a:lvl3pPr>
            <a:lvl4pPr marL="0" indent="1371407">
              <a:spcBef>
                <a:spcPts val="300"/>
              </a:spcBef>
              <a:buSzTx/>
              <a:buFontTx/>
              <a:buNone/>
              <a:defRPr sz="1400"/>
            </a:lvl4pPr>
            <a:lvl5pPr marL="0" indent="1828543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0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26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5pPr marL="2194251" indent="-365708">
              <a:buChar char="»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Title Text"/>
          <p:cNvSpPr txBox="1">
            <a:spLocks noGrp="1"/>
          </p:cNvSpPr>
          <p:nvPr>
            <p:ph type="title"/>
          </p:nvPr>
        </p:nvSpPr>
        <p:spPr>
          <a:xfrm>
            <a:off x="722312" y="4406901"/>
            <a:ext cx="7772401" cy="1362076"/>
          </a:xfrm>
          <a:prstGeom prst="rect">
            <a:avLst/>
          </a:prstGeom>
        </p:spPr>
        <p:txBody>
          <a:bodyPr anchor="t"/>
          <a:lstStyle>
            <a:lvl1pPr>
              <a:defRPr sz="4000" b="1" cap="all"/>
            </a:lvl1pPr>
          </a:lstStyle>
          <a:p>
            <a:r>
              <a:t>Title Text</a:t>
            </a:r>
          </a:p>
        </p:txBody>
      </p:sp>
      <p:sp>
        <p:nvSpPr>
          <p:cNvPr id="43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722312" y="2906715"/>
            <a:ext cx="7772401" cy="15001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457136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914272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1371407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1828543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3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44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463" indent="-333328">
              <a:spcBef>
                <a:spcPts val="600"/>
              </a:spcBef>
              <a:defRPr sz="2800"/>
            </a:lvl2pPr>
            <a:lvl3pPr marL="1234267" indent="-319995">
              <a:spcBef>
                <a:spcPts val="600"/>
              </a:spcBef>
              <a:defRPr sz="2800"/>
            </a:lvl3pPr>
            <a:lvl4pPr marL="1726957" indent="-355550">
              <a:spcBef>
                <a:spcPts val="600"/>
              </a:spcBef>
              <a:defRPr sz="2800"/>
            </a:lvl4pPr>
            <a:lvl5pPr marL="2184093" indent="-355550">
              <a:spcBef>
                <a:spcPts val="600"/>
              </a:spcBef>
              <a:buChar char="»"/>
              <a:defRPr sz="2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4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5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7201" y="1535112"/>
            <a:ext cx="4040189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 b="1"/>
            </a:lvl1pPr>
            <a:lvl2pPr marL="0" indent="457136">
              <a:spcBef>
                <a:spcPts val="500"/>
              </a:spcBef>
              <a:buSzTx/>
              <a:buFontTx/>
              <a:buNone/>
              <a:defRPr sz="2400" b="1"/>
            </a:lvl2pPr>
            <a:lvl3pPr marL="0" indent="914272">
              <a:spcBef>
                <a:spcPts val="500"/>
              </a:spcBef>
              <a:buSzTx/>
              <a:buFontTx/>
              <a:buNone/>
              <a:defRPr sz="2400" b="1"/>
            </a:lvl3pPr>
            <a:lvl4pPr marL="0" indent="1371407">
              <a:spcBef>
                <a:spcPts val="500"/>
              </a:spcBef>
              <a:buSzTx/>
              <a:buFontTx/>
              <a:buNone/>
              <a:defRPr sz="2400" b="1"/>
            </a:lvl4pPr>
            <a:lvl5pPr marL="0" indent="1828543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5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6" y="1535112"/>
            <a:ext cx="4041776" cy="639763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500"/>
              </a:spcBef>
              <a:buSzTx/>
              <a:buFontTx/>
              <a:buNone/>
              <a:defRPr sz="2400" b="1"/>
            </a:pPr>
            <a:endParaRPr/>
          </a:p>
        </p:txBody>
      </p:sp>
      <p:sp>
        <p:nvSpPr>
          <p:cNvPr id="45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6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Title Text"/>
          <p:cNvSpPr txBox="1">
            <a:spLocks noGrp="1"/>
          </p:cNvSpPr>
          <p:nvPr>
            <p:ph type="title"/>
          </p:nvPr>
        </p:nvSpPr>
        <p:spPr>
          <a:xfrm>
            <a:off x="457201" y="273050"/>
            <a:ext cx="3008315" cy="1162051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478" name="Body Level One…"/>
          <p:cNvSpPr txBox="1">
            <a:spLocks noGrp="1"/>
          </p:cNvSpPr>
          <p:nvPr>
            <p:ph type="body" idx="1"/>
          </p:nvPr>
        </p:nvSpPr>
        <p:spPr>
          <a:xfrm>
            <a:off x="3575051" y="273050"/>
            <a:ext cx="5111752" cy="5853114"/>
          </a:xfrm>
          <a:prstGeom prst="rect">
            <a:avLst/>
          </a:prstGeom>
        </p:spPr>
        <p:txBody>
          <a:bodyPr/>
          <a:lstStyle>
            <a:lvl5pPr marL="2194251" indent="-365708">
              <a:buChar char="»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79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1" y="1435102"/>
            <a:ext cx="3008315" cy="4691063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300"/>
              </a:spcBef>
              <a:buSzTx/>
              <a:buFontTx/>
              <a:buNone/>
              <a:defRPr sz="1400"/>
            </a:pPr>
            <a:endParaRPr/>
          </a:p>
        </p:txBody>
      </p:sp>
      <p:sp>
        <p:nvSpPr>
          <p:cNvPr id="48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" name="Title Text"/>
          <p:cNvSpPr txBox="1">
            <a:spLocks noGrp="1"/>
          </p:cNvSpPr>
          <p:nvPr>
            <p:ph type="title"/>
          </p:nvPr>
        </p:nvSpPr>
        <p:spPr>
          <a:xfrm>
            <a:off x="1792289" y="4800601"/>
            <a:ext cx="5486401" cy="566739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488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89" y="612775"/>
            <a:ext cx="5486401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8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92289" y="5367339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457136">
              <a:spcBef>
                <a:spcPts val="300"/>
              </a:spcBef>
              <a:buSzTx/>
              <a:buFontTx/>
              <a:buNone/>
              <a:defRPr sz="1400"/>
            </a:lvl2pPr>
            <a:lvl3pPr marL="0" indent="914272">
              <a:spcBef>
                <a:spcPts val="300"/>
              </a:spcBef>
              <a:buSzTx/>
              <a:buFontTx/>
              <a:buNone/>
              <a:defRPr sz="1400"/>
            </a:lvl3pPr>
            <a:lvl4pPr marL="0" indent="1371407">
              <a:spcBef>
                <a:spcPts val="300"/>
              </a:spcBef>
              <a:buSzTx/>
              <a:buFontTx/>
              <a:buNone/>
              <a:defRPr sz="1400"/>
            </a:lvl4pPr>
            <a:lvl5pPr marL="0" indent="1828543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9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07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5pPr marL="2194251" indent="-365708">
              <a:buChar char="»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0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Title Text"/>
          <p:cNvSpPr txBox="1">
            <a:spLocks noGrp="1"/>
          </p:cNvSpPr>
          <p:nvPr>
            <p:ph type="title"/>
          </p:nvPr>
        </p:nvSpPr>
        <p:spPr>
          <a:xfrm>
            <a:off x="722312" y="4406901"/>
            <a:ext cx="7772401" cy="1362076"/>
          </a:xfrm>
          <a:prstGeom prst="rect">
            <a:avLst/>
          </a:prstGeom>
        </p:spPr>
        <p:txBody>
          <a:bodyPr anchor="t"/>
          <a:lstStyle>
            <a:lvl1pPr>
              <a:defRPr sz="4000" b="1" cap="all"/>
            </a:lvl1pPr>
          </a:lstStyle>
          <a:p>
            <a:r>
              <a:t>Title Text</a:t>
            </a:r>
          </a:p>
        </p:txBody>
      </p:sp>
      <p:sp>
        <p:nvSpPr>
          <p:cNvPr id="51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722312" y="2906715"/>
            <a:ext cx="7772401" cy="15001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457136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914272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1371407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1828543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1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25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463" indent="-333328">
              <a:spcBef>
                <a:spcPts val="600"/>
              </a:spcBef>
              <a:defRPr sz="2800"/>
            </a:lvl2pPr>
            <a:lvl3pPr marL="1234267" indent="-319995">
              <a:spcBef>
                <a:spcPts val="600"/>
              </a:spcBef>
              <a:defRPr sz="2800"/>
            </a:lvl3pPr>
            <a:lvl4pPr marL="1726957" indent="-355550">
              <a:spcBef>
                <a:spcPts val="600"/>
              </a:spcBef>
              <a:defRPr sz="2800"/>
            </a:lvl4pPr>
            <a:lvl5pPr marL="2184093" indent="-355550">
              <a:spcBef>
                <a:spcPts val="600"/>
              </a:spcBef>
              <a:buChar char="»"/>
              <a:defRPr sz="2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2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3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7201" y="1535112"/>
            <a:ext cx="4040189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 b="1"/>
            </a:lvl1pPr>
            <a:lvl2pPr marL="0" indent="457136">
              <a:spcBef>
                <a:spcPts val="500"/>
              </a:spcBef>
              <a:buSzTx/>
              <a:buFontTx/>
              <a:buNone/>
              <a:defRPr sz="2400" b="1"/>
            </a:lvl2pPr>
            <a:lvl3pPr marL="0" indent="914272">
              <a:spcBef>
                <a:spcPts val="500"/>
              </a:spcBef>
              <a:buSzTx/>
              <a:buFontTx/>
              <a:buNone/>
              <a:defRPr sz="2400" b="1"/>
            </a:lvl3pPr>
            <a:lvl4pPr marL="0" indent="1371407">
              <a:spcBef>
                <a:spcPts val="500"/>
              </a:spcBef>
              <a:buSzTx/>
              <a:buFontTx/>
              <a:buNone/>
              <a:defRPr sz="2400" b="1"/>
            </a:lvl4pPr>
            <a:lvl5pPr marL="0" indent="1828543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3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6" y="1535112"/>
            <a:ext cx="4041776" cy="639763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500"/>
              </a:spcBef>
              <a:buSzTx/>
              <a:buFontTx/>
              <a:buNone/>
              <a:defRPr sz="2400" b="1"/>
            </a:pPr>
            <a:endParaRPr/>
          </a:p>
        </p:txBody>
      </p:sp>
      <p:sp>
        <p:nvSpPr>
          <p:cNvPr id="53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3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4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Title Text"/>
          <p:cNvSpPr txBox="1">
            <a:spLocks noGrp="1"/>
          </p:cNvSpPr>
          <p:nvPr>
            <p:ph type="title"/>
          </p:nvPr>
        </p:nvSpPr>
        <p:spPr>
          <a:xfrm>
            <a:off x="457201" y="273050"/>
            <a:ext cx="3008315" cy="1162051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559" name="Body Level One…"/>
          <p:cNvSpPr txBox="1">
            <a:spLocks noGrp="1"/>
          </p:cNvSpPr>
          <p:nvPr>
            <p:ph type="body" idx="1"/>
          </p:nvPr>
        </p:nvSpPr>
        <p:spPr>
          <a:xfrm>
            <a:off x="3575051" y="273050"/>
            <a:ext cx="5111752" cy="5853114"/>
          </a:xfrm>
          <a:prstGeom prst="rect">
            <a:avLst/>
          </a:prstGeom>
        </p:spPr>
        <p:txBody>
          <a:bodyPr/>
          <a:lstStyle>
            <a:lvl5pPr marL="2194251" indent="-365708">
              <a:buChar char="»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60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1" y="1435102"/>
            <a:ext cx="3008315" cy="4691063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300"/>
              </a:spcBef>
              <a:buSzTx/>
              <a:buFontTx/>
              <a:buNone/>
              <a:defRPr sz="1400"/>
            </a:pPr>
            <a:endParaRPr/>
          </a:p>
        </p:txBody>
      </p:sp>
      <p:sp>
        <p:nvSpPr>
          <p:cNvPr id="56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Title Text"/>
          <p:cNvSpPr txBox="1">
            <a:spLocks noGrp="1"/>
          </p:cNvSpPr>
          <p:nvPr>
            <p:ph type="title"/>
          </p:nvPr>
        </p:nvSpPr>
        <p:spPr>
          <a:xfrm>
            <a:off x="1792289" y="4800601"/>
            <a:ext cx="5486401" cy="566739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569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89" y="612775"/>
            <a:ext cx="5486401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7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92289" y="5367339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457136">
              <a:spcBef>
                <a:spcPts val="300"/>
              </a:spcBef>
              <a:buSzTx/>
              <a:buFontTx/>
              <a:buNone/>
              <a:defRPr sz="1400"/>
            </a:lvl2pPr>
            <a:lvl3pPr marL="0" indent="914272">
              <a:spcBef>
                <a:spcPts val="300"/>
              </a:spcBef>
              <a:buSzTx/>
              <a:buFontTx/>
              <a:buNone/>
              <a:defRPr sz="1400"/>
            </a:lvl3pPr>
            <a:lvl4pPr marL="0" indent="1371407">
              <a:spcBef>
                <a:spcPts val="300"/>
              </a:spcBef>
              <a:buSzTx/>
              <a:buFontTx/>
              <a:buNone/>
              <a:defRPr sz="1400"/>
            </a:lvl4pPr>
            <a:lvl5pPr marL="0" indent="1828543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7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35221"/>
            <a:ext cx="7886700" cy="530224"/>
          </a:xfrm>
        </p:spPr>
        <p:txBody>
          <a:bodyPr/>
          <a:lstStyle>
            <a:lvl1pPr>
              <a:defRPr>
                <a:solidFill>
                  <a:srgbClr val="2980B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465263"/>
            <a:ext cx="7886700" cy="4003675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AD6F954-B528-47D9-B7B0-5F6E4A436226}" type="datetime1">
              <a:rPr lang="en-US" smtClean="0"/>
              <a:t>17/0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1193800"/>
            <a:ext cx="9144000" cy="0"/>
          </a:xfrm>
          <a:prstGeom prst="line">
            <a:avLst/>
          </a:prstGeom>
          <a:ln w="12700" cmpd="sng">
            <a:solidFill>
              <a:srgbClr val="C7EAFB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>
          <a:xfrm>
            <a:off x="752475" y="774756"/>
            <a:ext cx="7886700" cy="328611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en-US" sz="1500" b="1" kern="1200" dirty="0" smtClean="0">
                <a:solidFill>
                  <a:schemeClr val="bg1">
                    <a:lumMod val="75000"/>
                  </a:schemeClr>
                </a:solidFill>
                <a:latin typeface="Roboto Regular"/>
                <a:ea typeface="+mn-ea"/>
                <a:cs typeface="Roboto Regular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19"/>
          <p:cNvSpPr>
            <a:spLocks noGrp="1"/>
          </p:cNvSpPr>
          <p:nvPr>
            <p:ph sz="quarter" idx="14"/>
          </p:nvPr>
        </p:nvSpPr>
        <p:spPr>
          <a:xfrm>
            <a:off x="628650" y="5987406"/>
            <a:ext cx="3924299" cy="342900"/>
          </a:xfr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en-US" sz="900" kern="1200" dirty="0" smtClean="0">
                <a:solidFill>
                  <a:schemeClr val="bg1">
                    <a:lumMod val="75000"/>
                  </a:schemeClr>
                </a:solidFill>
                <a:latin typeface="Roboto Regular"/>
                <a:ea typeface="+mn-ea"/>
                <a:cs typeface="Roboto Regular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en-US" sz="900" kern="1200" dirty="0" smtClean="0">
                <a:solidFill>
                  <a:schemeClr val="bg1">
                    <a:lumMod val="75000"/>
                  </a:schemeClr>
                </a:solidFill>
                <a:latin typeface="Roboto Regular"/>
                <a:ea typeface="+mn-ea"/>
                <a:cs typeface="Roboto Regular"/>
              </a:defRPr>
            </a:lvl2pPr>
            <a:lvl3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en-US" sz="900" kern="1200" dirty="0" smtClean="0">
                <a:solidFill>
                  <a:schemeClr val="bg1">
                    <a:lumMod val="75000"/>
                  </a:schemeClr>
                </a:solidFill>
                <a:latin typeface="Roboto Regular"/>
                <a:ea typeface="+mn-ea"/>
                <a:cs typeface="Roboto Regular"/>
              </a:defRPr>
            </a:lvl3pPr>
            <a:lvl4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en-US" sz="900" kern="1200" dirty="0" smtClean="0">
                <a:solidFill>
                  <a:schemeClr val="bg1">
                    <a:lumMod val="75000"/>
                  </a:schemeClr>
                </a:solidFill>
                <a:latin typeface="Roboto Regular"/>
                <a:ea typeface="+mn-ea"/>
                <a:cs typeface="Roboto Regular"/>
              </a:defRPr>
            </a:lvl4pPr>
            <a:lvl5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en-US" sz="900" kern="1200" dirty="0">
                <a:solidFill>
                  <a:schemeClr val="bg1">
                    <a:lumMod val="75000"/>
                  </a:schemeClr>
                </a:solidFill>
                <a:latin typeface="Roboto Regular"/>
                <a:ea typeface="+mn-ea"/>
                <a:cs typeface="Roboto Regular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4989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itle Text"/>
          <p:cNvSpPr txBox="1">
            <a:spLocks noGrp="1"/>
          </p:cNvSpPr>
          <p:nvPr>
            <p:ph type="title"/>
          </p:nvPr>
        </p:nvSpPr>
        <p:spPr>
          <a:xfrm>
            <a:off x="457201" y="273050"/>
            <a:ext cx="3008315" cy="1162051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73" name="Body Level One…"/>
          <p:cNvSpPr txBox="1">
            <a:spLocks noGrp="1"/>
          </p:cNvSpPr>
          <p:nvPr>
            <p:ph type="body" idx="1"/>
          </p:nvPr>
        </p:nvSpPr>
        <p:spPr>
          <a:xfrm>
            <a:off x="3575051" y="273050"/>
            <a:ext cx="5111752" cy="5853114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1" y="1435102"/>
            <a:ext cx="3008315" cy="4691063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300"/>
              </a:spcBef>
              <a:buSzTx/>
              <a:buFontTx/>
              <a:buNone/>
              <a:defRPr sz="1400"/>
            </a:pPr>
            <a:endParaRPr/>
          </a:p>
        </p:txBody>
      </p:sp>
      <p:sp>
        <p:nvSpPr>
          <p:cNvPr id="7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le Text"/>
          <p:cNvSpPr txBox="1">
            <a:spLocks noGrp="1"/>
          </p:cNvSpPr>
          <p:nvPr>
            <p:ph type="title"/>
          </p:nvPr>
        </p:nvSpPr>
        <p:spPr>
          <a:xfrm>
            <a:off x="1792289" y="4800601"/>
            <a:ext cx="5486401" cy="566739"/>
          </a:xfrm>
          <a:prstGeom prst="rect">
            <a:avLst/>
          </a:prstGeom>
        </p:spPr>
        <p:txBody>
          <a:bodyPr anchor="b"/>
          <a:lstStyle>
            <a:lvl1pPr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83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89" y="612775"/>
            <a:ext cx="5486401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8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92289" y="5367339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457136">
              <a:spcBef>
                <a:spcPts val="300"/>
              </a:spcBef>
              <a:buSzTx/>
              <a:buFontTx/>
              <a:buNone/>
              <a:defRPr sz="1400"/>
            </a:lvl2pPr>
            <a:lvl3pPr marL="0" indent="914272">
              <a:spcBef>
                <a:spcPts val="300"/>
              </a:spcBef>
              <a:buSzTx/>
              <a:buFontTx/>
              <a:buNone/>
              <a:defRPr sz="1400"/>
            </a:lvl3pPr>
            <a:lvl4pPr marL="0" indent="1371407">
              <a:spcBef>
                <a:spcPts val="300"/>
              </a:spcBef>
              <a:buSzTx/>
              <a:buFontTx/>
              <a:buNone/>
              <a:defRPr sz="1400"/>
            </a:lvl4pPr>
            <a:lvl5pPr marL="0" indent="1828543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itle Text"/>
          <p:cNvSpPr txBox="1">
            <a:spLocks noGrp="1"/>
          </p:cNvSpPr>
          <p:nvPr>
            <p:ph type="title"/>
          </p:nvPr>
        </p:nvSpPr>
        <p:spPr>
          <a:xfrm>
            <a:off x="685800" y="2130426"/>
            <a:ext cx="7772400" cy="1470026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>
                <a:solidFill>
                  <a:srgbClr val="888888"/>
                </a:solidFill>
              </a:defRPr>
            </a:lvl1pPr>
            <a:lvl2pPr marL="0" indent="457136">
              <a:buSzTx/>
              <a:buFontTx/>
              <a:buNone/>
              <a:defRPr>
                <a:solidFill>
                  <a:srgbClr val="888888"/>
                </a:solidFill>
              </a:defRPr>
            </a:lvl2pPr>
            <a:lvl3pPr marL="0" indent="914272">
              <a:buSzTx/>
              <a:buFontTx/>
              <a:buNone/>
              <a:defRPr>
                <a:solidFill>
                  <a:srgbClr val="888888"/>
                </a:solidFill>
              </a:defRPr>
            </a:lvl3pPr>
            <a:lvl4pPr marL="0" indent="1371407">
              <a:buSzTx/>
              <a:buFontTx/>
              <a:buNone/>
              <a:defRPr>
                <a:solidFill>
                  <a:srgbClr val="888888"/>
                </a:solidFill>
              </a:defRPr>
            </a:lvl4pPr>
            <a:lvl5pPr marL="0" indent="1828543">
              <a:buSzTx/>
              <a:buFontTx/>
              <a:buNone/>
              <a:defRPr>
                <a:solidFill>
                  <a:srgbClr val="888888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Title Text"/>
          <p:cNvSpPr txBox="1">
            <a:spLocks noGrp="1"/>
          </p:cNvSpPr>
          <p:nvPr>
            <p:ph type="title"/>
          </p:nvPr>
        </p:nvSpPr>
        <p:spPr>
          <a:xfrm>
            <a:off x="722312" y="4406901"/>
            <a:ext cx="7772401" cy="1362076"/>
          </a:xfrm>
          <a:prstGeom prst="rect">
            <a:avLst/>
          </a:prstGeom>
        </p:spPr>
        <p:txBody>
          <a:bodyPr anchor="t"/>
          <a:lstStyle>
            <a:lvl1pPr>
              <a:defRPr sz="4000" b="1" cap="all"/>
            </a:lvl1pPr>
          </a:lstStyle>
          <a:p>
            <a:r>
              <a:t>Title Text</a:t>
            </a:r>
          </a:p>
        </p:txBody>
      </p:sp>
      <p:sp>
        <p:nvSpPr>
          <p:cNvPr id="11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722312" y="2906715"/>
            <a:ext cx="7772401" cy="15001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457136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914272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1371407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1828543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457201" y="274638"/>
            <a:ext cx="8229601" cy="1143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3" tIns="45713" rIns="45713" bIns="45713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1" y="1600202"/>
            <a:ext cx="8229601" cy="45259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3" tIns="45713" rIns="45713" bIns="45713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553200" y="6404301"/>
            <a:ext cx="273643" cy="269227"/>
          </a:xfrm>
          <a:prstGeom prst="rect">
            <a:avLst/>
          </a:prstGeom>
          <a:ln w="12700">
            <a:miter lim="400000"/>
          </a:ln>
        </p:spPr>
        <p:txBody>
          <a:bodyPr wrap="none" lIns="45713" tIns="45713" rIns="45713" bIns="45713" anchor="ctr">
            <a:spAutoFit/>
          </a:bodyPr>
          <a:lstStyle>
            <a:lvl1pPr>
              <a:defRPr sz="1200">
                <a:solidFill>
                  <a:srgbClr val="88888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5" r:id="rId5"/>
    <p:sldLayoutId id="2147483656" r:id="rId6"/>
    <p:sldLayoutId id="2147483657" r:id="rId7"/>
    <p:sldLayoutId id="2147483658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73" r:id="rId21"/>
    <p:sldLayoutId id="2147483674" r:id="rId22"/>
    <p:sldLayoutId id="2147483675" r:id="rId23"/>
    <p:sldLayoutId id="2147483676" r:id="rId24"/>
    <p:sldLayoutId id="2147483677" r:id="rId25"/>
    <p:sldLayoutId id="2147483678" r:id="rId26"/>
    <p:sldLayoutId id="2147483679" r:id="rId27"/>
    <p:sldLayoutId id="2147483680" r:id="rId28"/>
    <p:sldLayoutId id="2147483681" r:id="rId29"/>
    <p:sldLayoutId id="2147483682" r:id="rId30"/>
    <p:sldLayoutId id="2147483683" r:id="rId31"/>
    <p:sldLayoutId id="2147483684" r:id="rId32"/>
    <p:sldLayoutId id="2147483685" r:id="rId33"/>
    <p:sldLayoutId id="2147483686" r:id="rId34"/>
    <p:sldLayoutId id="2147483687" r:id="rId35"/>
    <p:sldLayoutId id="2147483688" r:id="rId36"/>
    <p:sldLayoutId id="2147483689" r:id="rId37"/>
    <p:sldLayoutId id="2147483690" r:id="rId38"/>
    <p:sldLayoutId id="2147483691" r:id="rId39"/>
    <p:sldLayoutId id="2147483692" r:id="rId40"/>
    <p:sldLayoutId id="2147483693" r:id="rId41"/>
    <p:sldLayoutId id="2147483695" r:id="rId42"/>
    <p:sldLayoutId id="2147483696" r:id="rId43"/>
    <p:sldLayoutId id="2147483697" r:id="rId44"/>
    <p:sldLayoutId id="2147483698" r:id="rId45"/>
    <p:sldLayoutId id="2147483699" r:id="rId46"/>
    <p:sldLayoutId id="2147483700" r:id="rId47"/>
    <p:sldLayoutId id="2147483701" r:id="rId48"/>
    <p:sldLayoutId id="2147483702" r:id="rId49"/>
    <p:sldLayoutId id="2147483704" r:id="rId50"/>
    <p:sldLayoutId id="2147483705" r:id="rId51"/>
    <p:sldLayoutId id="2147483706" r:id="rId52"/>
    <p:sldLayoutId id="2147483707" r:id="rId53"/>
    <p:sldLayoutId id="2147483708" r:id="rId54"/>
    <p:sldLayoutId id="2147483709" r:id="rId55"/>
    <p:sldLayoutId id="2147483710" r:id="rId56"/>
    <p:sldLayoutId id="2147483711" r:id="rId57"/>
    <p:sldLayoutId id="2147483719" r:id="rId58"/>
  </p:sldLayoutIdLst>
  <p:transition spd="med"/>
  <p:txStyles>
    <p:titleStyle>
      <a:lvl1pPr marL="0" marR="0" indent="0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1pPr>
      <a:lvl2pPr marL="0" marR="0" indent="0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2pPr>
      <a:lvl3pPr marL="0" marR="0" indent="0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3pPr>
      <a:lvl4pPr marL="0" marR="0" indent="0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4pPr>
      <a:lvl5pPr marL="0" marR="0" indent="0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5pPr>
      <a:lvl6pPr marL="0" marR="0" indent="0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6pPr>
      <a:lvl7pPr marL="0" marR="0" indent="0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7pPr>
      <a:lvl8pPr marL="0" marR="0" indent="0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8pPr>
      <a:lvl9pPr marL="0" marR="0" indent="0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9pPr>
    </p:titleStyle>
    <p:bodyStyle>
      <a:lvl1pPr marL="342851" marR="0" indent="-342851" algn="l" defTabSz="457136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1pPr>
      <a:lvl2pPr marL="783660" marR="0" indent="-326525" algn="l" defTabSz="457136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2pPr>
      <a:lvl3pPr marL="1219029" marR="0" indent="-304757" algn="l" defTabSz="457136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3pPr>
      <a:lvl4pPr marL="1737115" marR="0" indent="-365708" algn="l" defTabSz="457136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4pPr>
      <a:lvl5pPr marL="2377106" marR="0" indent="-548563" algn="l" defTabSz="457136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❖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5pPr>
      <a:lvl6pPr marL="2651387" marR="0" indent="-365708" algn="l" defTabSz="457136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6pPr>
      <a:lvl7pPr marL="3108523" marR="0" indent="-365708" algn="l" defTabSz="457136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7pPr>
      <a:lvl8pPr marL="3565659" marR="0" indent="-365708" algn="l" defTabSz="457136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8pPr>
      <a:lvl9pPr marL="4022795" marR="0" indent="-365708" algn="l" defTabSz="457136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Roboto Regular"/>
          <a:ea typeface="Roboto Regular"/>
          <a:cs typeface="Roboto Regular"/>
          <a:sym typeface="Roboto Regular"/>
        </a:defRPr>
      </a:lvl9pPr>
    </p:bodyStyle>
    <p:otherStyle>
      <a:lvl1pPr marL="0" marR="0" indent="0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Regular"/>
        </a:defRPr>
      </a:lvl1pPr>
      <a:lvl2pPr marL="0" marR="0" indent="457136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Regular"/>
        </a:defRPr>
      </a:lvl2pPr>
      <a:lvl3pPr marL="0" marR="0" indent="914272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Regular"/>
        </a:defRPr>
      </a:lvl3pPr>
      <a:lvl4pPr marL="0" marR="0" indent="1371407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Regular"/>
        </a:defRPr>
      </a:lvl4pPr>
      <a:lvl5pPr marL="0" marR="0" indent="1828543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Regular"/>
        </a:defRPr>
      </a:lvl5pPr>
      <a:lvl6pPr marL="0" marR="0" indent="2285679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Regular"/>
        </a:defRPr>
      </a:lvl6pPr>
      <a:lvl7pPr marL="0" marR="0" indent="2742814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Regular"/>
        </a:defRPr>
      </a:lvl7pPr>
      <a:lvl8pPr marL="0" marR="0" indent="3199950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Regular"/>
        </a:defRPr>
      </a:lvl8pPr>
      <a:lvl9pPr marL="0" marR="0" indent="3657086" algn="l" defTabSz="45713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Regular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image" Target="../media/image3.emf"/><Relationship Id="rId7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emf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6.jpeg"/><Relationship Id="rId3" Type="http://schemas.openxmlformats.org/officeDocument/2006/relationships/tags" Target="../tags/tag2.xml"/><Relationship Id="rId7" Type="http://schemas.openxmlformats.org/officeDocument/2006/relationships/image" Target="../media/image11.emf"/><Relationship Id="rId12" Type="http://schemas.openxmlformats.org/officeDocument/2006/relationships/image" Target="../media/image15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4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21.png"/><Relationship Id="rId5" Type="http://schemas.openxmlformats.org/officeDocument/2006/relationships/image" Target="../media/image20.jpg"/><Relationship Id="rId10" Type="http://schemas.openxmlformats.org/officeDocument/2006/relationships/image" Target="../media/image24.jpg"/><Relationship Id="rId4" Type="http://schemas.openxmlformats.org/officeDocument/2006/relationships/image" Target="../media/image19.png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cid:232C892A-5C06-4DB6-99D9-8F841C23BF97" TargetMode="External"/><Relationship Id="rId7" Type="http://schemas.openxmlformats.org/officeDocument/2006/relationships/image" Target="cid:8475C050-605C-4561-AE23-C514C7E5198A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27.png"/><Relationship Id="rId5" Type="http://schemas.openxmlformats.org/officeDocument/2006/relationships/image" Target="cid:0526FA3B-0DB6-46A5-B461-8807439FA235" TargetMode="Externa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32.emf"/><Relationship Id="rId9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" name="Title 1"/>
          <p:cNvSpPr txBox="1"/>
          <p:nvPr/>
        </p:nvSpPr>
        <p:spPr>
          <a:xfrm>
            <a:off x="5274709" y="6497051"/>
            <a:ext cx="3132676" cy="2794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algn="r" defTabSz="457200">
              <a:defRPr sz="900">
                <a:solidFill>
                  <a:srgbClr val="FFFFFF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pPr>
            <a:r>
              <a:t>© </a:t>
            </a:r>
            <a:r>
              <a:rPr b="1"/>
              <a:t>UN Photo/Sylvain Liechti</a:t>
            </a:r>
          </a:p>
        </p:txBody>
      </p:sp>
      <p:sp>
        <p:nvSpPr>
          <p:cNvPr id="590" name="Title 1"/>
          <p:cNvSpPr txBox="1"/>
          <p:nvPr/>
        </p:nvSpPr>
        <p:spPr>
          <a:xfrm>
            <a:off x="9256880" y="6319251"/>
            <a:ext cx="1707456" cy="5105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3" tIns="45713" rIns="45713" bIns="45713">
            <a:spAutoFit/>
          </a:bodyPr>
          <a:lstStyle/>
          <a:p>
            <a:pPr marL="171425" indent="-171425" algn="r" defTabSz="457200">
              <a:buSzPct val="100000"/>
              <a:buChar char="ß"/>
              <a:defRPr sz="900">
                <a:solidFill>
                  <a:srgbClr val="FFFFFF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pPr>
            <a:r>
              <a:t>Photo credit to be given </a:t>
            </a:r>
            <a:endParaRPr sz="4400"/>
          </a:p>
          <a:p>
            <a:pPr algn="r" defTabSz="457200">
              <a:defRPr sz="900">
                <a:solidFill>
                  <a:srgbClr val="FFFFFF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pPr>
            <a:r>
              <a:t>as shown alongside </a:t>
            </a:r>
            <a:endParaRPr sz="4400"/>
          </a:p>
          <a:p>
            <a:pPr algn="r" defTabSz="457200">
              <a:defRPr sz="900">
                <a:solidFill>
                  <a:srgbClr val="FFFFFF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pPr>
            <a:r>
              <a:t>(in black or in white)</a:t>
            </a:r>
          </a:p>
        </p:txBody>
      </p:sp>
      <p:sp>
        <p:nvSpPr>
          <p:cNvPr id="591" name="Title 1"/>
          <p:cNvSpPr txBox="1">
            <a:spLocks noGrp="1"/>
          </p:cNvSpPr>
          <p:nvPr>
            <p:ph type="title"/>
          </p:nvPr>
        </p:nvSpPr>
        <p:spPr>
          <a:xfrm>
            <a:off x="728121" y="2260600"/>
            <a:ext cx="7679264" cy="223308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UNEP Finance Initiative</a:t>
            </a:r>
            <a:endParaRPr dirty="0"/>
          </a:p>
        </p:txBody>
      </p:sp>
      <p:sp>
        <p:nvSpPr>
          <p:cNvPr id="592" name="Subtitle 2"/>
          <p:cNvSpPr txBox="1">
            <a:spLocks noGrp="1"/>
          </p:cNvSpPr>
          <p:nvPr>
            <p:ph type="body" sz="quarter" idx="1"/>
          </p:nvPr>
        </p:nvSpPr>
        <p:spPr>
          <a:xfrm>
            <a:off x="728121" y="4413473"/>
            <a:ext cx="7679264" cy="1271157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400"/>
              </a:spcBef>
              <a:defRPr sz="1800" b="1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r>
              <a:rPr lang="en-US" sz="3200" dirty="0"/>
              <a:t>Responsible banking….</a:t>
            </a:r>
          </a:p>
          <a:p>
            <a:r>
              <a:rPr lang="en-US" sz="2400" i="1" dirty="0"/>
              <a:t>from disclosure to impact and alignment</a:t>
            </a:r>
            <a:endParaRPr sz="2400" i="1" dirty="0"/>
          </a:p>
        </p:txBody>
      </p:sp>
      <p:sp>
        <p:nvSpPr>
          <p:cNvPr id="593" name="Straight Connector 18"/>
          <p:cNvSpPr/>
          <p:nvPr/>
        </p:nvSpPr>
        <p:spPr>
          <a:xfrm>
            <a:off x="728121" y="4493683"/>
            <a:ext cx="7679265" cy="1"/>
          </a:xfrm>
          <a:prstGeom prst="line">
            <a:avLst/>
          </a:prstGeom>
          <a:ln w="12700">
            <a:solidFill>
              <a:srgbClr val="FFFFF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94" name="Straight Connector 19"/>
          <p:cNvSpPr/>
          <p:nvPr/>
        </p:nvSpPr>
        <p:spPr>
          <a:xfrm>
            <a:off x="728121" y="5790239"/>
            <a:ext cx="7679265" cy="1"/>
          </a:xfrm>
          <a:prstGeom prst="line">
            <a:avLst/>
          </a:prstGeom>
          <a:ln w="12700">
            <a:solidFill>
              <a:srgbClr val="FFFFF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95" name="Subtitle 2"/>
          <p:cNvSpPr txBox="1"/>
          <p:nvPr/>
        </p:nvSpPr>
        <p:spPr>
          <a:xfrm>
            <a:off x="728121" y="5790239"/>
            <a:ext cx="7679264" cy="4581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>
            <a:lvl1pPr defTabSz="457200">
              <a:spcBef>
                <a:spcPts val="200"/>
              </a:spcBef>
              <a:defRPr sz="1100">
                <a:solidFill>
                  <a:srgbClr val="FFFFFF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r>
              <a:rPr lang="en-US" dirty="0"/>
              <a:t>Eric Usher</a:t>
            </a:r>
            <a:r>
              <a:rPr dirty="0"/>
              <a:t>/ </a:t>
            </a:r>
            <a:r>
              <a:rPr lang="en-US" dirty="0"/>
              <a:t>21</a:t>
            </a:r>
            <a:r>
              <a:rPr dirty="0"/>
              <a:t> </a:t>
            </a:r>
            <a:r>
              <a:rPr lang="en-US" dirty="0"/>
              <a:t>May</a:t>
            </a:r>
            <a:r>
              <a:rPr dirty="0"/>
              <a:t> 2019 / </a:t>
            </a:r>
            <a:r>
              <a:rPr lang="en-US" dirty="0"/>
              <a:t>Madrid, ALIDE </a:t>
            </a:r>
            <a:endParaRPr dirty="0"/>
          </a:p>
        </p:txBody>
      </p:sp>
      <p:pic>
        <p:nvPicPr>
          <p:cNvPr id="596" name="Picture 2" descr="Picture 2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7180398" y="224656"/>
            <a:ext cx="1376414" cy="2035945"/>
          </a:xfrm>
          <a:prstGeom prst="rect">
            <a:avLst/>
          </a:prstGeom>
          <a:ln w="12700">
            <a:miter lim="400000"/>
          </a:ln>
        </p:spPr>
      </p:pic>
      <p:sp>
        <p:nvSpPr>
          <p:cNvPr id="597" name="Title 1"/>
          <p:cNvSpPr txBox="1"/>
          <p:nvPr/>
        </p:nvSpPr>
        <p:spPr>
          <a:xfrm>
            <a:off x="9256880" y="374101"/>
            <a:ext cx="1707456" cy="650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3" tIns="45713" rIns="45713" bIns="45713">
            <a:spAutoFit/>
          </a:bodyPr>
          <a:lstStyle/>
          <a:p>
            <a:pPr marL="171425" indent="-171425" algn="r" defTabSz="457200">
              <a:buSzPct val="100000"/>
              <a:buChar char="ß"/>
              <a:defRPr sz="900">
                <a:solidFill>
                  <a:srgbClr val="FFFFFF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pPr>
            <a:r>
              <a:t>Use different logo for the best visibility.</a:t>
            </a:r>
            <a:endParaRPr sz="4400"/>
          </a:p>
          <a:p>
            <a:pPr algn="r" defTabSz="457200">
              <a:defRPr sz="900">
                <a:solidFill>
                  <a:srgbClr val="FFFFFF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pPr>
            <a:r>
              <a:t>Align right side of logo to right sides of white lines below</a:t>
            </a:r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299C4-AEDE-44C8-B1F6-1F0278939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47515"/>
            <a:ext cx="7886700" cy="530224"/>
          </a:xfrm>
        </p:spPr>
        <p:txBody>
          <a:bodyPr>
            <a:normAutofit fontScale="90000"/>
          </a:bodyPr>
          <a:lstStyle/>
          <a:p>
            <a:r>
              <a:rPr lang="en-US" dirty="0"/>
              <a:t>Responsible / Sustainable Finance Framewor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D6D391-AB8B-4871-8D3E-832CA7163BC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553200" y="6404301"/>
            <a:ext cx="273643" cy="269227"/>
          </a:xfrm>
        </p:spPr>
        <p:txBody>
          <a:bodyPr/>
          <a:lstStyle/>
          <a:p>
            <a:fld id="{1C8B0181-BDCD-4DA8-9340-BBA7828CAE38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2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5DA5883-4FA1-4919-9E85-37B630A5C80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8650" y="6597002"/>
            <a:ext cx="3924299" cy="342900"/>
          </a:xfrm>
        </p:spPr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416968" y="2775280"/>
            <a:ext cx="2346161" cy="1182006"/>
            <a:chOff x="3179642" y="2890833"/>
            <a:chExt cx="3269555" cy="1819945"/>
          </a:xfrm>
        </p:grpSpPr>
        <p:pic>
          <p:nvPicPr>
            <p:cNvPr id="9" name="Picture 8" descr="PSI 4-deck logo CMYK.eps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05172" y="2998375"/>
              <a:ext cx="2044025" cy="1590194"/>
            </a:xfrm>
            <a:prstGeom prst="rect">
              <a:avLst/>
            </a:prstGeom>
          </p:spPr>
        </p:pic>
        <p:pic>
          <p:nvPicPr>
            <p:cNvPr id="10" name="Picture 9" descr="LOGO_VERT COLOUR.eps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79642" y="2890833"/>
              <a:ext cx="1230385" cy="1819945"/>
            </a:xfrm>
            <a:prstGeom prst="rect">
              <a:avLst/>
            </a:prstGeom>
          </p:spPr>
        </p:pic>
      </p:grpSp>
      <p:pic>
        <p:nvPicPr>
          <p:cNvPr id="11" name="Picture 10" descr="PRB LOGO_COLOUR.png"/>
          <p:cNvPicPr>
            <a:picLocks noChangeAspect="1"/>
          </p:cNvPicPr>
          <p:nvPr/>
        </p:nvPicPr>
        <p:blipFill>
          <a:blip r:embed="rId5" cstate="screen">
            <a:grayscl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encil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8974" y="2650638"/>
            <a:ext cx="2134850" cy="1205415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492571" y="3115826"/>
            <a:ext cx="2443138" cy="829205"/>
            <a:chOff x="492571" y="3292877"/>
            <a:chExt cx="2443138" cy="829205"/>
          </a:xfrm>
        </p:grpSpPr>
        <p:pic>
          <p:nvPicPr>
            <p:cNvPr id="14" name="Picture 13" descr="PRI CMYK V1.eps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2571" y="3292877"/>
              <a:ext cx="2118591" cy="398318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503546" y="3691195"/>
              <a:ext cx="24321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100" i="1" spc="-80" dirty="0">
                  <a:latin typeface="Gill Sans MT"/>
                  <a:cs typeface="Gill Sans MT"/>
                </a:rPr>
                <a:t>An investor initiative in partnership with UNEP Finance Initiative and UN Global Compact</a:t>
              </a:r>
            </a:p>
          </p:txBody>
        </p:sp>
      </p:grpSp>
      <p:pic>
        <p:nvPicPr>
          <p:cNvPr id="19" name="Content Placeholder 18"/>
          <p:cNvPicPr>
            <a:picLocks noGrp="1" noChangeAspect="1"/>
          </p:cNvPicPr>
          <p:nvPr>
            <p:ph sz="quarter" idx="13"/>
          </p:nvPr>
        </p:nvPicPr>
        <p:blipFill>
          <a:blip r:embed="rId8"/>
          <a:stretch>
            <a:fillRect/>
          </a:stretch>
        </p:blipFill>
        <p:spPr>
          <a:xfrm>
            <a:off x="3342875" y="4604079"/>
            <a:ext cx="2745506" cy="916999"/>
          </a:xfr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70851" y="0"/>
            <a:ext cx="688997" cy="1128642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6036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over image edit.jpg"/>
          <p:cNvPicPr>
            <a:picLocks noChangeAspect="1"/>
          </p:cNvPicPr>
          <p:nvPr/>
        </p:nvPicPr>
        <p:blipFill rotWithShape="1">
          <a:blip r:embed="rId2" cstate="screen">
            <a:alphaModFix amt="2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45050"/>
            <a:ext cx="9144000" cy="511295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728122" y="32086"/>
            <a:ext cx="7679262" cy="1193799"/>
          </a:xfrm>
          <a:prstGeom prst="rect">
            <a:avLst/>
          </a:prstGeom>
        </p:spPr>
        <p:txBody>
          <a:bodyPr vert="horz" lIns="0" tIns="144000" rIns="0" bIns="14400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Roboto Regular"/>
                <a:ea typeface="+mj-ea"/>
                <a:cs typeface="Roboto Regular"/>
              </a:defRPr>
            </a:lvl1pPr>
          </a:lstStyle>
          <a:p>
            <a:r>
              <a:rPr lang="en-US" sz="4000" dirty="0">
                <a:solidFill>
                  <a:srgbClr val="2980BA"/>
                </a:solidFill>
                <a:ea typeface="Roboto Regular"/>
                <a:sym typeface="Roboto Regular"/>
              </a:rPr>
              <a:t>Banking sector at the service of </a:t>
            </a:r>
          </a:p>
          <a:p>
            <a:r>
              <a:rPr lang="en-US" sz="4000" dirty="0">
                <a:solidFill>
                  <a:srgbClr val="2980BA"/>
                </a:solidFill>
                <a:ea typeface="Roboto Regular"/>
                <a:sym typeface="Roboto Regular"/>
              </a:rPr>
              <a:t>people and plane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728122" y="1193800"/>
            <a:ext cx="7679263" cy="0"/>
          </a:xfrm>
          <a:prstGeom prst="line">
            <a:avLst/>
          </a:prstGeom>
          <a:ln w="12700" cmpd="sng">
            <a:solidFill>
              <a:srgbClr val="3E6FA9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7112" y="2007871"/>
            <a:ext cx="5865183" cy="265482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3541667" y="4734344"/>
            <a:ext cx="2644312" cy="21236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342900" marR="0" indent="-342900" algn="l" defTabSz="4571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sz="4400" b="0" i="0" u="none" strike="noStrike" cap="none" spc="0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FillTx/>
                <a:sym typeface="Calibri"/>
              </a:rPr>
              <a:t> Disclose</a:t>
            </a:r>
            <a:r>
              <a:rPr kumimoji="0" lang="en-US" sz="4400" b="0" i="0" u="none" strike="noStrike" cap="none" spc="0" normalizeH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FillTx/>
                <a:sym typeface="Calibri"/>
              </a:rPr>
              <a:t> </a:t>
            </a:r>
          </a:p>
          <a:p>
            <a:pPr marL="342900" marR="0" indent="-342900" algn="l" defTabSz="4571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sz="4400" b="0" i="0" u="none" strike="noStrike" cap="none" spc="0" normalizeH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FillTx/>
                <a:sym typeface="Calibri"/>
              </a:rPr>
              <a:t> Impact </a:t>
            </a:r>
          </a:p>
          <a:p>
            <a:pPr marL="342900" marR="0" indent="-342900" algn="l" defTabSz="4571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</a:pPr>
            <a:r>
              <a:rPr lang="en-US" sz="4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kumimoji="0" lang="en-US" sz="4400" b="0" i="0" u="none" strike="noStrike" cap="none" spc="0" normalizeH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FillTx/>
                <a:sym typeface="Calibri"/>
              </a:rPr>
              <a:t>Align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70851" y="0"/>
            <a:ext cx="688997" cy="1128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91510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972745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72745" y="85844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971550" y="857250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600" b="1" dirty="0" err="1">
              <a:solidFill>
                <a:srgbClr val="000000"/>
              </a:solidFill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59950" y="-316288"/>
            <a:ext cx="8484050" cy="2308324"/>
          </a:xfrm>
          <a:prstGeom prst="rect">
            <a:avLst/>
          </a:prstGeom>
          <a:ln w="12700">
            <a:miter lim="400000"/>
          </a:ln>
        </p:spPr>
        <p:txBody>
          <a:bodyPr lIns="45713" tIns="45713" rIns="45713" bIns="45713" anchor="ctr">
            <a:noAutofit/>
          </a:bodyPr>
          <a:lstStyle/>
          <a:p>
            <a:r>
              <a:rPr lang="en-US" sz="3200" kern="1200" dirty="0">
                <a:solidFill>
                  <a:srgbClr val="2980BA"/>
                </a:solidFill>
                <a:latin typeface="Roboto Regular"/>
                <a:ea typeface="Roboto Regular"/>
                <a:cs typeface="Roboto Regular"/>
                <a:sym typeface="Roboto Regular"/>
              </a:rPr>
              <a:t>Disclose: climate risks in loan-books</a:t>
            </a:r>
            <a:endParaRPr lang="en-GB" sz="3200" kern="1200" dirty="0">
              <a:solidFill>
                <a:srgbClr val="2980BA"/>
              </a:solidFill>
              <a:latin typeface="Roboto Regular"/>
              <a:ea typeface="Roboto Regular"/>
              <a:cs typeface="Roboto Regular"/>
              <a:sym typeface="Roboto Regular"/>
            </a:endParaRPr>
          </a:p>
        </p:txBody>
      </p:sp>
      <p:sp>
        <p:nvSpPr>
          <p:cNvPr id="8" name="Straight Connector 7"/>
          <p:cNvSpPr/>
          <p:nvPr/>
        </p:nvSpPr>
        <p:spPr>
          <a:xfrm>
            <a:off x="728121" y="1189562"/>
            <a:ext cx="7679265" cy="0"/>
          </a:xfrm>
          <a:prstGeom prst="line">
            <a:avLst/>
          </a:prstGeom>
          <a:ln w="12700">
            <a:solidFill>
              <a:srgbClr val="3E6FA9"/>
            </a:solidFill>
          </a:ln>
        </p:spPr>
        <p:txBody>
          <a:bodyPr lIns="45719" rIns="45719"/>
          <a:lstStyle/>
          <a:p>
            <a:endParaRPr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4139" y="2052956"/>
            <a:ext cx="6436310" cy="394283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11378" y="1823439"/>
            <a:ext cx="1500325" cy="86339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70851" y="0"/>
            <a:ext cx="688997" cy="1128642"/>
          </a:xfrm>
          <a:prstGeom prst="rect">
            <a:avLst/>
          </a:prstGeom>
        </p:spPr>
      </p:pic>
      <p:pic>
        <p:nvPicPr>
          <p:cNvPr id="12" name="Picture 11">
            <a:extLst/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06509" y="2589131"/>
            <a:ext cx="1155032" cy="1614854"/>
          </a:xfrm>
          <a:prstGeom prst="rect">
            <a:avLst/>
          </a:prstGeom>
        </p:spPr>
      </p:pic>
      <p:pic>
        <p:nvPicPr>
          <p:cNvPr id="13" name="Picture 12">
            <a:extLst/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61541" y="2545311"/>
            <a:ext cx="1194351" cy="1669827"/>
          </a:xfrm>
          <a:prstGeom prst="rect">
            <a:avLst/>
          </a:prstGeom>
        </p:spPr>
      </p:pic>
      <p:pic>
        <p:nvPicPr>
          <p:cNvPr id="14" name="x_AF15DFA9-9093-4AA8-8298-713E2679D2E5" descr="5FDFB922-4492-4843-BB73-3510FFFA4FD4@wifi">
            <a:extLst/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958" y="4258958"/>
            <a:ext cx="1005166" cy="1457912"/>
          </a:xfrm>
          <a:prstGeom prst="rect">
            <a:avLst/>
          </a:prstGeom>
          <a:noFill/>
          <a:ln w="920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583019" y="1622706"/>
            <a:ext cx="391709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4571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i="1" dirty="0">
                <a:solidFill>
                  <a:schemeClr val="accent1"/>
                </a:solidFill>
              </a:rPr>
              <a:t>Climate Transition Risk Scenario Models</a:t>
            </a:r>
            <a:endParaRPr kumimoji="0" lang="en-US" sz="1800" b="1" i="1" u="none" strike="noStrike" cap="none" spc="0" normalizeH="0" baseline="0" dirty="0">
              <a:ln>
                <a:noFill/>
              </a:ln>
              <a:solidFill>
                <a:schemeClr val="accent1"/>
              </a:solidFill>
              <a:effectLst/>
              <a:uFillTx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490450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mpact Rada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6595442" y="3612318"/>
            <a:ext cx="2043733" cy="1311462"/>
            <a:chOff x="338648" y="4145819"/>
            <a:chExt cx="4093870" cy="213823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643181">
              <a:off x="3277006" y="4617684"/>
              <a:ext cx="1155512" cy="1636736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9333067">
              <a:off x="338648" y="4704478"/>
              <a:ext cx="1226354" cy="1579572"/>
            </a:xfrm>
            <a:prstGeom prst="rect">
              <a:avLst/>
            </a:prstGeom>
            <a:effectLst/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0578606">
              <a:off x="933481" y="4297714"/>
              <a:ext cx="1286003" cy="1659268"/>
            </a:xfrm>
            <a:prstGeom prst="rect">
              <a:avLst/>
            </a:prstGeom>
            <a:effectLst/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771845">
              <a:off x="2448058" y="4269243"/>
              <a:ext cx="1296501" cy="1665429"/>
            </a:xfrm>
            <a:prstGeom prst="rect">
              <a:avLst/>
            </a:prstGeom>
            <a:effectLst/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608444" y="4145819"/>
              <a:ext cx="1339625" cy="1720395"/>
            </a:xfrm>
            <a:prstGeom prst="rect">
              <a:avLst/>
            </a:prstGeom>
            <a:effectLst/>
          </p:spPr>
        </p:pic>
      </p:grpSp>
      <p:pic>
        <p:nvPicPr>
          <p:cNvPr id="14" name="Picture 13" descr="PI Flyer 2019.pdf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6522" y="2213823"/>
            <a:ext cx="2548745" cy="107704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70851" y="0"/>
            <a:ext cx="688997" cy="112864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2993" y="1344326"/>
            <a:ext cx="5559824" cy="5281832"/>
          </a:xfrm>
          <a:prstGeom prst="rect">
            <a:avLst/>
          </a:prstGeom>
          <a:solidFill>
            <a:srgbClr val="FFFFFF"/>
          </a:solidFill>
          <a:effectLst/>
        </p:spPr>
      </p:pic>
      <p:grpSp>
        <p:nvGrpSpPr>
          <p:cNvPr id="18" name="Group 17"/>
          <p:cNvGrpSpPr/>
          <p:nvPr/>
        </p:nvGrpSpPr>
        <p:grpSpPr>
          <a:xfrm>
            <a:off x="415818" y="1274765"/>
            <a:ext cx="5774133" cy="5583235"/>
            <a:chOff x="1711525" y="774756"/>
            <a:chExt cx="5774133" cy="5583235"/>
          </a:xfrm>
        </p:grpSpPr>
        <p:sp>
          <p:nvSpPr>
            <p:cNvPr id="13" name="Oval 12"/>
            <p:cNvSpPr/>
            <p:nvPr/>
          </p:nvSpPr>
          <p:spPr>
            <a:xfrm>
              <a:off x="1711525" y="774756"/>
              <a:ext cx="5560399" cy="5564861"/>
            </a:xfrm>
            <a:prstGeom prst="ellipse">
              <a:avLst/>
            </a:prstGeom>
            <a:solidFill>
              <a:srgbClr val="FFFFFF"/>
            </a:solidFill>
            <a:ln w="25400" cap="flat">
              <a:solidFill>
                <a:schemeClr val="bg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13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905992" y="778325"/>
              <a:ext cx="5579666" cy="5579666"/>
            </a:xfrm>
            <a:prstGeom prst="rect">
              <a:avLst/>
            </a:prstGeom>
            <a:effectLst>
              <a:outerShdw blurRad="50800" dist="50800" dir="5400000" algn="ctr" rotWithShape="0">
                <a:schemeClr val="bg1"/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053435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mpact Examp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Banco </a:t>
            </a:r>
            <a:r>
              <a:rPr lang="en-US" sz="2400" dirty="0" err="1"/>
              <a:t>Itau</a:t>
            </a: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1" descr="cid:232C892A-5C06-4DB6-99D9-8F841C23BF97"/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39" y="1328319"/>
            <a:ext cx="4700686" cy="4659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" descr="cid:0526FA3B-0DB6-46A5-B461-8807439FA235"/>
          <p:cNvPicPr>
            <a:picLocks noChangeAspect="1" noChangeArrowheads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8443" y="1328319"/>
            <a:ext cx="4007756" cy="1044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 descr="cid:8475C050-605C-4561-AE23-C514C7E5198A"/>
          <p:cNvPicPr>
            <a:picLocks noChangeAspect="1" noChangeArrowheads="1"/>
          </p:cNvPicPr>
          <p:nvPr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36" y="2165348"/>
            <a:ext cx="4104656" cy="4692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6538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728122" y="2"/>
            <a:ext cx="7679262" cy="1193799"/>
          </a:xfrm>
          <a:prstGeom prst="rect">
            <a:avLst/>
          </a:prstGeom>
        </p:spPr>
        <p:txBody>
          <a:bodyPr vert="horz" lIns="0" tIns="144000" rIns="0" bIns="14400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Roboto Regular"/>
                <a:ea typeface="+mj-ea"/>
                <a:cs typeface="Roboto Regular"/>
              </a:defRPr>
            </a:lvl1pPr>
          </a:lstStyle>
          <a:p>
            <a:r>
              <a:rPr lang="en-US" sz="4000" dirty="0">
                <a:solidFill>
                  <a:srgbClr val="2980BA"/>
                </a:solidFill>
                <a:ea typeface="Roboto Regular"/>
                <a:sym typeface="Roboto Regular"/>
              </a:rPr>
              <a:t>Align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728122" y="1193800"/>
            <a:ext cx="7679263" cy="0"/>
          </a:xfrm>
          <a:prstGeom prst="line">
            <a:avLst/>
          </a:prstGeom>
          <a:ln w="12700" cmpd="sng">
            <a:solidFill>
              <a:srgbClr val="3E6FA9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5" name="Picture 3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3160" y="1401662"/>
            <a:ext cx="6784490" cy="3318012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1219202" y="4882799"/>
            <a:ext cx="6978315" cy="1362474"/>
            <a:chOff x="1556085" y="4882799"/>
            <a:chExt cx="6629802" cy="1362474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60885" y="4882799"/>
              <a:ext cx="5839326" cy="993147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1556085" y="5875943"/>
              <a:ext cx="1871664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13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1. Identify Impacts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615071" y="5875943"/>
              <a:ext cx="2047995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>
                <a:defRPr b="1"/>
              </a:lvl1pPr>
            </a:lstStyle>
            <a:p>
              <a:r>
                <a:rPr lang="en-US" dirty="0">
                  <a:solidFill>
                    <a:schemeClr val="accent1">
                      <a:lumMod val="75000"/>
                    </a:schemeClr>
                  </a:solidFill>
                </a:rPr>
                <a:t> 2. </a:t>
              </a:r>
              <a:r>
                <a:rPr lang="en-US" dirty="0" err="1">
                  <a:solidFill>
                    <a:schemeClr val="accent1">
                      <a:lumMod val="75000"/>
                    </a:schemeClr>
                  </a:solidFill>
                </a:rPr>
                <a:t>Prioritise</a:t>
              </a:r>
              <a:r>
                <a:rPr lang="en-US" dirty="0">
                  <a:solidFill>
                    <a:schemeClr val="accent1">
                      <a:lumMod val="75000"/>
                    </a:schemeClr>
                  </a:solidFill>
                </a:rPr>
                <a:t> Impacts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5939120" y="5875943"/>
              <a:ext cx="2246767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13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b="1" dirty="0">
                  <a:solidFill>
                    <a:schemeClr val="accent1">
                      <a:lumMod val="75000"/>
                    </a:schemeClr>
                  </a:solidFill>
                </a:rPr>
                <a:t>3</a:t>
              </a:r>
              <a:r>
                <a:rPr kumimoji="0" lang="en-US" sz="1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FillTx/>
                  <a:sym typeface="Calibri"/>
                </a:rPr>
                <a:t>. </a:t>
              </a:r>
              <a:r>
                <a:rPr lang="en-US" b="1" dirty="0">
                  <a:solidFill>
                    <a:schemeClr val="accent1">
                      <a:lumMod val="75000"/>
                    </a:schemeClr>
                  </a:solidFill>
                </a:rPr>
                <a:t>Set/Disclose</a:t>
              </a:r>
              <a:r>
                <a:rPr kumimoji="0" lang="en-US" sz="1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FillTx/>
                  <a:sym typeface="Calibri"/>
                </a:rPr>
                <a:t> Targets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649511" y="6321740"/>
            <a:ext cx="184762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4571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rgbClr val="FF0000"/>
                </a:solidFill>
              </a:rPr>
              <a:t>4</a:t>
            </a:r>
            <a:r>
              <a:rPr kumimoji="0" lang="en-US" sz="18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sym typeface="Calibri"/>
              </a:rPr>
              <a:t>. Report Progres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851" y="0"/>
            <a:ext cx="688997" cy="1128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39026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2000" dirty="0">
                <a:sym typeface="Lato Light"/>
              </a:rPr>
              <a:t>BBVA:  €100 Billion mobilization between 2018 and 2025</a:t>
            </a:r>
            <a:endParaRPr lang="en-US" sz="2000" dirty="0"/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14"/>
          <p:cNvSpPr>
            <a:spLocks noChangeArrowheads="1"/>
          </p:cNvSpPr>
          <p:nvPr/>
        </p:nvSpPr>
        <p:spPr bwMode="auto">
          <a:xfrm>
            <a:off x="465003" y="2586914"/>
            <a:ext cx="2782651" cy="2186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380990" indent="-380990" eaLnBrk="1" hangingPunct="1">
              <a:lnSpc>
                <a:spcPct val="95000"/>
              </a:lnSpc>
              <a:spcAft>
                <a:spcPts val="800"/>
              </a:spcAft>
              <a:buSzPct val="70000"/>
              <a:buBlip>
                <a:blip r:embed="rId2"/>
              </a:buBlip>
            </a:pPr>
            <a:r>
              <a:rPr lang="en-US" altLang="es-ES" sz="1200" u="none" dirty="0">
                <a:solidFill>
                  <a:srgbClr val="121212"/>
                </a:solidFill>
                <a:latin typeface="BBVABentonSansLight"/>
              </a:rPr>
              <a:t>Green lending to companies &amp; institutions</a:t>
            </a:r>
          </a:p>
          <a:p>
            <a:pPr marL="380990" indent="-380990" eaLnBrk="1" hangingPunct="1">
              <a:lnSpc>
                <a:spcPct val="95000"/>
              </a:lnSpc>
              <a:spcAft>
                <a:spcPts val="800"/>
              </a:spcAft>
              <a:buSzPct val="70000"/>
              <a:buBlip>
                <a:blip r:embed="rId2"/>
              </a:buBlip>
            </a:pPr>
            <a:r>
              <a:rPr lang="en-US" altLang="es-ES" sz="1200" u="none" dirty="0">
                <a:solidFill>
                  <a:srgbClr val="121212"/>
                </a:solidFill>
                <a:latin typeface="BBVABentonSansLight"/>
              </a:rPr>
              <a:t>Green bonds intermediated as </a:t>
            </a:r>
            <a:r>
              <a:rPr lang="en-US" altLang="es-ES" sz="1200" u="none" dirty="0" err="1">
                <a:solidFill>
                  <a:srgbClr val="121212"/>
                </a:solidFill>
                <a:latin typeface="BBVABentonSansLight"/>
              </a:rPr>
              <a:t>bookrunner</a:t>
            </a:r>
            <a:endParaRPr lang="en-US" altLang="es-ES" sz="1200" u="none" dirty="0">
              <a:solidFill>
                <a:srgbClr val="121212"/>
              </a:solidFill>
              <a:latin typeface="BBVABentonSansLight"/>
            </a:endParaRPr>
          </a:p>
          <a:p>
            <a:pPr marL="380990" indent="-380990" eaLnBrk="1" hangingPunct="1">
              <a:lnSpc>
                <a:spcPct val="95000"/>
              </a:lnSpc>
              <a:spcAft>
                <a:spcPts val="800"/>
              </a:spcAft>
              <a:buSzPct val="70000"/>
              <a:buBlip>
                <a:blip r:embed="rId2"/>
              </a:buBlip>
            </a:pPr>
            <a:r>
              <a:rPr lang="en-US" altLang="es-ES" sz="1200" u="none" dirty="0">
                <a:solidFill>
                  <a:srgbClr val="121212"/>
                </a:solidFill>
                <a:latin typeface="BBVABentonSansLight"/>
              </a:rPr>
              <a:t>Energy efficiency, water &amp; waste management &amp; solutions for SMEs &amp; individuals</a:t>
            </a:r>
          </a:p>
          <a:p>
            <a:pPr marL="380990" indent="-380990" eaLnBrk="1" hangingPunct="1">
              <a:lnSpc>
                <a:spcPct val="95000"/>
              </a:lnSpc>
              <a:spcAft>
                <a:spcPts val="800"/>
              </a:spcAft>
              <a:buSzPct val="70000"/>
              <a:buBlip>
                <a:blip r:embed="rId2"/>
              </a:buBlip>
            </a:pPr>
            <a:r>
              <a:rPr lang="en-US" altLang="es-ES" sz="1200" u="none" dirty="0">
                <a:solidFill>
                  <a:srgbClr val="121212"/>
                </a:solidFill>
                <a:latin typeface="BBVABentonSansLight"/>
              </a:rPr>
              <a:t>Green investment funds &amp; equity</a:t>
            </a:r>
          </a:p>
        </p:txBody>
      </p:sp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4253551" y="5010202"/>
            <a:ext cx="4166549" cy="1273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380990" indent="-380990" eaLnBrk="1" hangingPunct="1">
              <a:lnSpc>
                <a:spcPct val="95000"/>
              </a:lnSpc>
              <a:spcAft>
                <a:spcPts val="800"/>
              </a:spcAft>
              <a:buSzPct val="70000"/>
              <a:buBlip>
                <a:blip r:embed="rId3"/>
              </a:buBlip>
            </a:pPr>
            <a:r>
              <a:rPr lang="en-US" altLang="es-ES" sz="1400" u="none" dirty="0">
                <a:solidFill>
                  <a:srgbClr val="121212"/>
                </a:solidFill>
                <a:latin typeface="BBVABentonSansLight"/>
              </a:rPr>
              <a:t>Project &amp; corporate lending in education, health &amp;  affordable housing</a:t>
            </a:r>
          </a:p>
          <a:p>
            <a:pPr marL="380990" indent="-380990" eaLnBrk="1" hangingPunct="1">
              <a:lnSpc>
                <a:spcPct val="95000"/>
              </a:lnSpc>
              <a:spcAft>
                <a:spcPts val="800"/>
              </a:spcAft>
              <a:buSzPct val="70000"/>
              <a:buBlip>
                <a:blip r:embed="rId3"/>
              </a:buBlip>
            </a:pPr>
            <a:r>
              <a:rPr lang="en-US" altLang="es-ES" sz="1400" u="none" dirty="0">
                <a:solidFill>
                  <a:srgbClr val="121212"/>
                </a:solidFill>
                <a:latin typeface="BBVABentonSansLight"/>
              </a:rPr>
              <a:t>Social bonds intermediated as </a:t>
            </a:r>
            <a:r>
              <a:rPr lang="en-US" altLang="es-ES" sz="1400" u="none" dirty="0" err="1">
                <a:solidFill>
                  <a:srgbClr val="121212"/>
                </a:solidFill>
                <a:latin typeface="BBVABentonSansLight"/>
              </a:rPr>
              <a:t>bookrunner</a:t>
            </a:r>
            <a:endParaRPr lang="en-US" altLang="es-ES" sz="1400" u="none" dirty="0">
              <a:solidFill>
                <a:srgbClr val="121212"/>
              </a:solidFill>
              <a:latin typeface="BBVABentonSansLight"/>
            </a:endParaRPr>
          </a:p>
          <a:p>
            <a:pPr marL="380990" indent="-380990" eaLnBrk="1" hangingPunct="1">
              <a:lnSpc>
                <a:spcPct val="95000"/>
              </a:lnSpc>
              <a:spcAft>
                <a:spcPts val="800"/>
              </a:spcAft>
              <a:buSzPct val="70000"/>
              <a:buBlip>
                <a:blip r:embed="rId3"/>
              </a:buBlip>
            </a:pPr>
            <a:r>
              <a:rPr lang="en-US" altLang="es-ES" sz="1400" u="none" dirty="0">
                <a:solidFill>
                  <a:srgbClr val="121212"/>
                </a:solidFill>
                <a:latin typeface="BBVABentonSansLight"/>
              </a:rPr>
              <a:t>Social investment funds &amp; equity</a:t>
            </a:r>
          </a:p>
          <a:p>
            <a:pPr marL="380990" indent="-380990" eaLnBrk="1" hangingPunct="1">
              <a:lnSpc>
                <a:spcPct val="95000"/>
              </a:lnSpc>
              <a:spcAft>
                <a:spcPts val="800"/>
              </a:spcAft>
              <a:buSzPct val="70000"/>
              <a:buBlip>
                <a:blip r:embed="rId3"/>
              </a:buBlip>
            </a:pPr>
            <a:r>
              <a:rPr lang="en-US" altLang="es-ES" sz="1400" u="none" dirty="0">
                <a:solidFill>
                  <a:srgbClr val="121212"/>
                </a:solidFill>
                <a:latin typeface="BBVABentonSansLight"/>
              </a:rPr>
              <a:t>Agribusiness lending  under sustainability criteria</a:t>
            </a:r>
          </a:p>
        </p:txBody>
      </p:sp>
      <p:sp>
        <p:nvSpPr>
          <p:cNvPr id="9" name="2 Título"/>
          <p:cNvSpPr txBox="1">
            <a:spLocks/>
          </p:cNvSpPr>
          <p:nvPr/>
        </p:nvSpPr>
        <p:spPr>
          <a:xfrm>
            <a:off x="474133" y="-97586"/>
            <a:ext cx="9159264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3" tIns="45713" rIns="45713" bIns="45713" anchor="ctr">
            <a:normAutofit fontScale="97500"/>
          </a:bodyPr>
          <a:lstStyle>
            <a:lvl1pPr marL="0" marR="0" indent="0" algn="l" defTabSz="45713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2980BA"/>
                </a:solidFill>
                <a:uFillTx/>
                <a:latin typeface="Roboto Regular"/>
                <a:ea typeface="Roboto Regular"/>
                <a:cs typeface="Roboto Regular"/>
                <a:sym typeface="Roboto Regular"/>
              </a:defRPr>
            </a:lvl1pPr>
            <a:lvl2pPr marL="0" marR="0" indent="0" algn="l" defTabSz="45713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boto Regular"/>
                <a:ea typeface="Roboto Regular"/>
                <a:cs typeface="Roboto Regular"/>
                <a:sym typeface="Roboto Regular"/>
              </a:defRPr>
            </a:lvl2pPr>
            <a:lvl3pPr marL="0" marR="0" indent="0" algn="l" defTabSz="45713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boto Regular"/>
                <a:ea typeface="Roboto Regular"/>
                <a:cs typeface="Roboto Regular"/>
                <a:sym typeface="Roboto Regular"/>
              </a:defRPr>
            </a:lvl3pPr>
            <a:lvl4pPr marL="0" marR="0" indent="0" algn="l" defTabSz="45713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boto Regular"/>
                <a:ea typeface="Roboto Regular"/>
                <a:cs typeface="Roboto Regular"/>
                <a:sym typeface="Roboto Regular"/>
              </a:defRPr>
            </a:lvl4pPr>
            <a:lvl5pPr marL="0" marR="0" indent="0" algn="l" defTabSz="45713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boto Regular"/>
                <a:ea typeface="Roboto Regular"/>
                <a:cs typeface="Roboto Regular"/>
                <a:sym typeface="Roboto Regular"/>
              </a:defRPr>
            </a:lvl5pPr>
            <a:lvl6pPr marL="0" marR="0" indent="0" algn="l" defTabSz="45713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boto Regular"/>
                <a:ea typeface="Roboto Regular"/>
                <a:cs typeface="Roboto Regular"/>
                <a:sym typeface="Roboto Regular"/>
              </a:defRPr>
            </a:lvl6pPr>
            <a:lvl7pPr marL="0" marR="0" indent="0" algn="l" defTabSz="45713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boto Regular"/>
                <a:ea typeface="Roboto Regular"/>
                <a:cs typeface="Roboto Regular"/>
                <a:sym typeface="Roboto Regular"/>
              </a:defRPr>
            </a:lvl7pPr>
            <a:lvl8pPr marL="0" marR="0" indent="0" algn="l" defTabSz="45713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boto Regular"/>
                <a:ea typeface="Roboto Regular"/>
                <a:cs typeface="Roboto Regular"/>
                <a:sym typeface="Roboto Regular"/>
              </a:defRPr>
            </a:lvl8pPr>
            <a:lvl9pPr marL="0" marR="0" indent="0" algn="l" defTabSz="45713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boto Regular"/>
                <a:ea typeface="Roboto Regular"/>
                <a:cs typeface="Roboto Regular"/>
                <a:sym typeface="Roboto Regular"/>
              </a:defRPr>
            </a:lvl9pPr>
          </a:lstStyle>
          <a:p>
            <a:pPr hangingPunct="1"/>
            <a:r>
              <a:rPr lang="en-US" dirty="0"/>
              <a:t>Target Setting Example</a:t>
            </a:r>
          </a:p>
        </p:txBody>
      </p:sp>
      <p:sp>
        <p:nvSpPr>
          <p:cNvPr id="10" name="41 Rectángulo"/>
          <p:cNvSpPr/>
          <p:nvPr/>
        </p:nvSpPr>
        <p:spPr>
          <a:xfrm>
            <a:off x="467773" y="1897261"/>
            <a:ext cx="3729191" cy="32812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48000" rIns="0" bIns="48000" rtlCol="0" anchor="ctr">
            <a:noAutofit/>
          </a:bodyPr>
          <a:lstStyle/>
          <a:p>
            <a:r>
              <a:rPr lang="en-US" sz="2133" b="1" dirty="0">
                <a:solidFill>
                  <a:srgbClr val="1973B8"/>
                </a:solidFill>
                <a:latin typeface="BBVABentonSans" pitchFamily="50" charset="0"/>
                <a:ea typeface="ＭＳ Ｐゴシック" pitchFamily="34" charset="-128"/>
                <a:sym typeface="BBVABentonSans"/>
              </a:rPr>
              <a:t>Transition to a low carbon economy</a:t>
            </a:r>
          </a:p>
        </p:txBody>
      </p:sp>
      <p:sp>
        <p:nvSpPr>
          <p:cNvPr id="11" name="42 Rectángulo"/>
          <p:cNvSpPr/>
          <p:nvPr/>
        </p:nvSpPr>
        <p:spPr>
          <a:xfrm>
            <a:off x="4196964" y="4495646"/>
            <a:ext cx="6370553" cy="53545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48000" rIns="0" bIns="48000" rtlCol="0" anchor="ctr">
            <a:noAutofit/>
          </a:bodyPr>
          <a:lstStyle/>
          <a:p>
            <a:r>
              <a:rPr lang="en-US" sz="2133" b="1" dirty="0">
                <a:solidFill>
                  <a:srgbClr val="D8BE75"/>
                </a:solidFill>
                <a:latin typeface="BBVABentonSans" pitchFamily="50" charset="0"/>
                <a:ea typeface="ＭＳ Ｐゴシック" pitchFamily="34" charset="-128"/>
                <a:sym typeface="BBVABentonSans"/>
              </a:rPr>
              <a:t>Infrastructures &amp; agribusiness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3378243" y="2197970"/>
            <a:ext cx="2347501" cy="2392479"/>
            <a:chOff x="3592290" y="1491466"/>
            <a:chExt cx="3247559" cy="3157460"/>
          </a:xfrm>
        </p:grpSpPr>
        <p:sp>
          <p:nvSpPr>
            <p:cNvPr id="13" name="10 Rectángulo"/>
            <p:cNvSpPr/>
            <p:nvPr/>
          </p:nvSpPr>
          <p:spPr>
            <a:xfrm>
              <a:off x="3828357" y="2666867"/>
              <a:ext cx="1119465" cy="49244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867" b="1" dirty="0">
                  <a:solidFill>
                    <a:srgbClr val="1973B8"/>
                  </a:solidFill>
                  <a:latin typeface="BBVABentonSans" pitchFamily="50" charset="0"/>
                  <a:ea typeface="ＭＳ Ｐゴシック" pitchFamily="34" charset="-128"/>
                  <a:sym typeface="BBVABentonSans"/>
                </a:rPr>
                <a:t>€ 70 </a:t>
              </a:r>
              <a:r>
                <a:rPr lang="en-US" sz="1333" b="1" dirty="0">
                  <a:solidFill>
                    <a:srgbClr val="1973B8"/>
                  </a:solidFill>
                  <a:latin typeface="BBVABentonSans" pitchFamily="50" charset="0"/>
                  <a:ea typeface="ＭＳ Ｐゴシック" pitchFamily="34" charset="-128"/>
                  <a:sym typeface="BBVABentonSans"/>
                </a:rPr>
                <a:t>BILLION</a:t>
              </a:r>
            </a:p>
          </p:txBody>
        </p:sp>
        <p:sp>
          <p:nvSpPr>
            <p:cNvPr id="14" name="12 Rectángulo"/>
            <p:cNvSpPr/>
            <p:nvPr/>
          </p:nvSpPr>
          <p:spPr>
            <a:xfrm>
              <a:off x="4949373" y="3406187"/>
              <a:ext cx="1119465" cy="49244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867" b="1" dirty="0">
                  <a:solidFill>
                    <a:srgbClr val="D8BE75"/>
                  </a:solidFill>
                  <a:latin typeface="BBVABentonSans" pitchFamily="50" charset="0"/>
                  <a:ea typeface="ＭＳ Ｐゴシック" pitchFamily="34" charset="-128"/>
                  <a:sym typeface="BBVABentonSans"/>
                </a:rPr>
                <a:t>€ 12</a:t>
              </a:r>
              <a:br>
                <a:rPr lang="en-US" sz="1867" b="1" dirty="0">
                  <a:solidFill>
                    <a:srgbClr val="D8BE75"/>
                  </a:solidFill>
                  <a:latin typeface="BBVABentonSans" pitchFamily="50" charset="0"/>
                  <a:ea typeface="ＭＳ Ｐゴシック" pitchFamily="34" charset="-128"/>
                  <a:sym typeface="BBVABentonSans"/>
                </a:rPr>
              </a:br>
              <a:r>
                <a:rPr lang="en-US" sz="1333" b="1" dirty="0">
                  <a:solidFill>
                    <a:srgbClr val="D8BE75"/>
                  </a:solidFill>
                  <a:latin typeface="BBVABentonSans" pitchFamily="50" charset="0"/>
                  <a:ea typeface="ＭＳ Ｐゴシック" pitchFamily="34" charset="-128"/>
                  <a:sym typeface="BBVABentonSans"/>
                </a:rPr>
                <a:t>BILLION</a:t>
              </a:r>
            </a:p>
          </p:txBody>
        </p:sp>
        <p:sp>
          <p:nvSpPr>
            <p:cNvPr id="15" name="14 Rectángulo"/>
            <p:cNvSpPr/>
            <p:nvPr/>
          </p:nvSpPr>
          <p:spPr>
            <a:xfrm>
              <a:off x="5092675" y="2538357"/>
              <a:ext cx="1419619" cy="49244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867" b="1" dirty="0">
                  <a:solidFill>
                    <a:srgbClr val="2DCCCD"/>
                  </a:solidFill>
                  <a:latin typeface="BBVABentonSans" pitchFamily="50" charset="0"/>
                  <a:ea typeface="ＭＳ Ｐゴシック" pitchFamily="34" charset="-128"/>
                  <a:sym typeface="BBVABentonSans"/>
                </a:rPr>
                <a:t>€ 18</a:t>
              </a:r>
              <a:br>
                <a:rPr lang="en-US" sz="1867" b="1" dirty="0">
                  <a:solidFill>
                    <a:srgbClr val="2DCCCD"/>
                  </a:solidFill>
                  <a:latin typeface="BBVABentonSans" pitchFamily="50" charset="0"/>
                  <a:ea typeface="ＭＳ Ｐゴシック" pitchFamily="34" charset="-128"/>
                  <a:sym typeface="BBVABentonSans"/>
                </a:rPr>
              </a:br>
              <a:r>
                <a:rPr lang="en-US" sz="1333" b="1" dirty="0">
                  <a:solidFill>
                    <a:srgbClr val="2DCCCD"/>
                  </a:solidFill>
                  <a:latin typeface="BBVABentonSans" pitchFamily="50" charset="0"/>
                  <a:ea typeface="ＭＳ Ｐゴシック" pitchFamily="34" charset="-128"/>
                  <a:sym typeface="BBVABentonSans"/>
                </a:rPr>
                <a:t>BILLION</a:t>
              </a:r>
            </a:p>
          </p:txBody>
        </p:sp>
        <p:sp>
          <p:nvSpPr>
            <p:cNvPr id="16" name="Freeform 63"/>
            <p:cNvSpPr>
              <a:spLocks noEditPoints="1"/>
            </p:cNvSpPr>
            <p:nvPr/>
          </p:nvSpPr>
          <p:spPr bwMode="auto">
            <a:xfrm>
              <a:off x="5368028" y="3983917"/>
              <a:ext cx="269363" cy="257548"/>
            </a:xfrm>
            <a:custGeom>
              <a:avLst/>
              <a:gdLst>
                <a:gd name="T0" fmla="*/ 840 w 1000"/>
                <a:gd name="T1" fmla="*/ 520 h 960"/>
                <a:gd name="T2" fmla="*/ 1000 w 1000"/>
                <a:gd name="T3" fmla="*/ 320 h 960"/>
                <a:gd name="T4" fmla="*/ 891 w 1000"/>
                <a:gd name="T5" fmla="*/ 160 h 960"/>
                <a:gd name="T6" fmla="*/ 367 w 1000"/>
                <a:gd name="T7" fmla="*/ 2 h 960"/>
                <a:gd name="T8" fmla="*/ 366 w 1000"/>
                <a:gd name="T9" fmla="*/ 2 h 960"/>
                <a:gd name="T10" fmla="*/ 208 w 1000"/>
                <a:gd name="T11" fmla="*/ 0 h 960"/>
                <a:gd name="T12" fmla="*/ 175 w 1000"/>
                <a:gd name="T13" fmla="*/ 13 h 960"/>
                <a:gd name="T14" fmla="*/ 174 w 1000"/>
                <a:gd name="T15" fmla="*/ 15 h 960"/>
                <a:gd name="T16" fmla="*/ 0 w 1000"/>
                <a:gd name="T17" fmla="*/ 208 h 960"/>
                <a:gd name="T18" fmla="*/ 160 w 1000"/>
                <a:gd name="T19" fmla="*/ 320 h 960"/>
                <a:gd name="T20" fmla="*/ 24 w 1000"/>
                <a:gd name="T21" fmla="*/ 880 h 960"/>
                <a:gd name="T22" fmla="*/ 0 w 1000"/>
                <a:gd name="T23" fmla="*/ 960 h 960"/>
                <a:gd name="T24" fmla="*/ 560 w 1000"/>
                <a:gd name="T25" fmla="*/ 904 h 960"/>
                <a:gd name="T26" fmla="*/ 400 w 1000"/>
                <a:gd name="T27" fmla="*/ 880 h 960"/>
                <a:gd name="T28" fmla="*/ 720 w 1000"/>
                <a:gd name="T29" fmla="*/ 320 h 960"/>
                <a:gd name="T30" fmla="*/ 705 w 1000"/>
                <a:gd name="T31" fmla="*/ 520 h 960"/>
                <a:gd name="T32" fmla="*/ 760 w 1000"/>
                <a:gd name="T33" fmla="*/ 623 h 960"/>
                <a:gd name="T34" fmla="*/ 760 w 1000"/>
                <a:gd name="T35" fmla="*/ 680 h 960"/>
                <a:gd name="T36" fmla="*/ 760 w 1000"/>
                <a:gd name="T37" fmla="*/ 760 h 960"/>
                <a:gd name="T38" fmla="*/ 732 w 1000"/>
                <a:gd name="T39" fmla="*/ 692 h 960"/>
                <a:gd name="T40" fmla="*/ 680 w 1000"/>
                <a:gd name="T41" fmla="*/ 720 h 960"/>
                <a:gd name="T42" fmla="*/ 840 w 1000"/>
                <a:gd name="T43" fmla="*/ 720 h 960"/>
                <a:gd name="T44" fmla="*/ 800 w 1000"/>
                <a:gd name="T45" fmla="*/ 623 h 960"/>
                <a:gd name="T46" fmla="*/ 855 w 1000"/>
                <a:gd name="T47" fmla="*/ 520 h 960"/>
                <a:gd name="T48" fmla="*/ 400 w 1000"/>
                <a:gd name="T49" fmla="*/ 160 h 960"/>
                <a:gd name="T50" fmla="*/ 713 w 1000"/>
                <a:gd name="T51" fmla="*/ 160 h 960"/>
                <a:gd name="T52" fmla="*/ 85 w 1000"/>
                <a:gd name="T53" fmla="*/ 160 h 960"/>
                <a:gd name="T54" fmla="*/ 160 w 1000"/>
                <a:gd name="T55" fmla="*/ 160 h 960"/>
                <a:gd name="T56" fmla="*/ 240 w 1000"/>
                <a:gd name="T57" fmla="*/ 720 h 960"/>
                <a:gd name="T58" fmla="*/ 320 w 1000"/>
                <a:gd name="T59" fmla="*/ 640 h 960"/>
                <a:gd name="T60" fmla="*/ 320 w 1000"/>
                <a:gd name="T61" fmla="*/ 560 h 960"/>
                <a:gd name="T62" fmla="*/ 240 w 1000"/>
                <a:gd name="T63" fmla="*/ 480 h 960"/>
                <a:gd name="T64" fmla="*/ 320 w 1000"/>
                <a:gd name="T65" fmla="*/ 560 h 960"/>
                <a:gd name="T66" fmla="*/ 320 w 1000"/>
                <a:gd name="T67" fmla="*/ 800 h 960"/>
                <a:gd name="T68" fmla="*/ 240 w 1000"/>
                <a:gd name="T69" fmla="*/ 880 h 960"/>
                <a:gd name="T70" fmla="*/ 320 w 1000"/>
                <a:gd name="T71" fmla="*/ 400 h 960"/>
                <a:gd name="T72" fmla="*/ 240 w 1000"/>
                <a:gd name="T73" fmla="*/ 320 h 960"/>
                <a:gd name="T74" fmla="*/ 320 w 1000"/>
                <a:gd name="T75" fmla="*/ 400 h 960"/>
                <a:gd name="T76" fmla="*/ 800 w 1000"/>
                <a:gd name="T77" fmla="*/ 320 h 960"/>
                <a:gd name="T78" fmla="*/ 760 w 1000"/>
                <a:gd name="T79" fmla="*/ 52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00" h="960">
                  <a:moveTo>
                    <a:pt x="855" y="520"/>
                  </a:moveTo>
                  <a:cubicBezTo>
                    <a:pt x="840" y="520"/>
                    <a:pt x="840" y="520"/>
                    <a:pt x="840" y="520"/>
                  </a:cubicBezTo>
                  <a:cubicBezTo>
                    <a:pt x="840" y="320"/>
                    <a:pt x="840" y="320"/>
                    <a:pt x="840" y="320"/>
                  </a:cubicBezTo>
                  <a:cubicBezTo>
                    <a:pt x="1000" y="320"/>
                    <a:pt x="1000" y="320"/>
                    <a:pt x="1000" y="320"/>
                  </a:cubicBezTo>
                  <a:cubicBezTo>
                    <a:pt x="934" y="187"/>
                    <a:pt x="934" y="187"/>
                    <a:pt x="934" y="187"/>
                  </a:cubicBezTo>
                  <a:cubicBezTo>
                    <a:pt x="925" y="170"/>
                    <a:pt x="909" y="160"/>
                    <a:pt x="891" y="160"/>
                  </a:cubicBezTo>
                  <a:cubicBezTo>
                    <a:pt x="840" y="160"/>
                    <a:pt x="840" y="160"/>
                    <a:pt x="840" y="160"/>
                  </a:cubicBezTo>
                  <a:cubicBezTo>
                    <a:pt x="367" y="2"/>
                    <a:pt x="367" y="2"/>
                    <a:pt x="367" y="2"/>
                  </a:cubicBezTo>
                  <a:cubicBezTo>
                    <a:pt x="367" y="2"/>
                    <a:pt x="367" y="2"/>
                    <a:pt x="366" y="2"/>
                  </a:cubicBezTo>
                  <a:cubicBezTo>
                    <a:pt x="366" y="2"/>
                    <a:pt x="366" y="2"/>
                    <a:pt x="366" y="2"/>
                  </a:cubicBezTo>
                  <a:cubicBezTo>
                    <a:pt x="362" y="1"/>
                    <a:pt x="357" y="0"/>
                    <a:pt x="352" y="0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195" y="0"/>
                    <a:pt x="184" y="5"/>
                    <a:pt x="175" y="13"/>
                  </a:cubicBezTo>
                  <a:cubicBezTo>
                    <a:pt x="175" y="13"/>
                    <a:pt x="175" y="13"/>
                    <a:pt x="175" y="13"/>
                  </a:cubicBezTo>
                  <a:cubicBezTo>
                    <a:pt x="175" y="13"/>
                    <a:pt x="175" y="13"/>
                    <a:pt x="175" y="13"/>
                  </a:cubicBezTo>
                  <a:cubicBezTo>
                    <a:pt x="175" y="14"/>
                    <a:pt x="174" y="14"/>
                    <a:pt x="174" y="15"/>
                  </a:cubicBezTo>
                  <a:cubicBezTo>
                    <a:pt x="15" y="174"/>
                    <a:pt x="15" y="174"/>
                    <a:pt x="15" y="174"/>
                  </a:cubicBezTo>
                  <a:cubicBezTo>
                    <a:pt x="6" y="182"/>
                    <a:pt x="0" y="195"/>
                    <a:pt x="0" y="208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160" y="320"/>
                    <a:pt x="160" y="320"/>
                    <a:pt x="160" y="320"/>
                  </a:cubicBezTo>
                  <a:cubicBezTo>
                    <a:pt x="160" y="880"/>
                    <a:pt x="160" y="880"/>
                    <a:pt x="160" y="880"/>
                  </a:cubicBezTo>
                  <a:cubicBezTo>
                    <a:pt x="24" y="880"/>
                    <a:pt x="24" y="880"/>
                    <a:pt x="24" y="880"/>
                  </a:cubicBezTo>
                  <a:cubicBezTo>
                    <a:pt x="11" y="880"/>
                    <a:pt x="0" y="891"/>
                    <a:pt x="0" y="904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560" y="960"/>
                    <a:pt x="560" y="960"/>
                    <a:pt x="560" y="960"/>
                  </a:cubicBezTo>
                  <a:cubicBezTo>
                    <a:pt x="560" y="904"/>
                    <a:pt x="560" y="904"/>
                    <a:pt x="560" y="904"/>
                  </a:cubicBezTo>
                  <a:cubicBezTo>
                    <a:pt x="560" y="891"/>
                    <a:pt x="550" y="880"/>
                    <a:pt x="536" y="880"/>
                  </a:cubicBezTo>
                  <a:cubicBezTo>
                    <a:pt x="400" y="880"/>
                    <a:pt x="400" y="880"/>
                    <a:pt x="400" y="880"/>
                  </a:cubicBezTo>
                  <a:cubicBezTo>
                    <a:pt x="400" y="320"/>
                    <a:pt x="400" y="320"/>
                    <a:pt x="400" y="320"/>
                  </a:cubicBezTo>
                  <a:cubicBezTo>
                    <a:pt x="720" y="320"/>
                    <a:pt x="720" y="320"/>
                    <a:pt x="720" y="320"/>
                  </a:cubicBezTo>
                  <a:cubicBezTo>
                    <a:pt x="720" y="520"/>
                    <a:pt x="720" y="520"/>
                    <a:pt x="720" y="520"/>
                  </a:cubicBezTo>
                  <a:cubicBezTo>
                    <a:pt x="705" y="520"/>
                    <a:pt x="705" y="520"/>
                    <a:pt x="705" y="520"/>
                  </a:cubicBezTo>
                  <a:cubicBezTo>
                    <a:pt x="683" y="520"/>
                    <a:pt x="673" y="548"/>
                    <a:pt x="690" y="562"/>
                  </a:cubicBezTo>
                  <a:cubicBezTo>
                    <a:pt x="760" y="623"/>
                    <a:pt x="760" y="623"/>
                    <a:pt x="760" y="623"/>
                  </a:cubicBezTo>
                  <a:cubicBezTo>
                    <a:pt x="760" y="640"/>
                    <a:pt x="760" y="640"/>
                    <a:pt x="760" y="640"/>
                  </a:cubicBezTo>
                  <a:cubicBezTo>
                    <a:pt x="760" y="680"/>
                    <a:pt x="760" y="680"/>
                    <a:pt x="760" y="680"/>
                  </a:cubicBezTo>
                  <a:cubicBezTo>
                    <a:pt x="782" y="680"/>
                    <a:pt x="800" y="698"/>
                    <a:pt x="800" y="720"/>
                  </a:cubicBezTo>
                  <a:cubicBezTo>
                    <a:pt x="800" y="742"/>
                    <a:pt x="782" y="760"/>
                    <a:pt x="760" y="760"/>
                  </a:cubicBezTo>
                  <a:cubicBezTo>
                    <a:pt x="738" y="760"/>
                    <a:pt x="720" y="742"/>
                    <a:pt x="720" y="720"/>
                  </a:cubicBezTo>
                  <a:cubicBezTo>
                    <a:pt x="720" y="709"/>
                    <a:pt x="725" y="699"/>
                    <a:pt x="732" y="692"/>
                  </a:cubicBezTo>
                  <a:cubicBezTo>
                    <a:pt x="704" y="663"/>
                    <a:pt x="704" y="663"/>
                    <a:pt x="704" y="663"/>
                  </a:cubicBezTo>
                  <a:cubicBezTo>
                    <a:pt x="689" y="678"/>
                    <a:pt x="680" y="698"/>
                    <a:pt x="680" y="720"/>
                  </a:cubicBezTo>
                  <a:cubicBezTo>
                    <a:pt x="680" y="764"/>
                    <a:pt x="716" y="800"/>
                    <a:pt x="760" y="800"/>
                  </a:cubicBezTo>
                  <a:cubicBezTo>
                    <a:pt x="804" y="800"/>
                    <a:pt x="840" y="764"/>
                    <a:pt x="840" y="720"/>
                  </a:cubicBezTo>
                  <a:cubicBezTo>
                    <a:pt x="840" y="690"/>
                    <a:pt x="824" y="665"/>
                    <a:pt x="800" y="651"/>
                  </a:cubicBezTo>
                  <a:cubicBezTo>
                    <a:pt x="800" y="623"/>
                    <a:pt x="800" y="623"/>
                    <a:pt x="800" y="623"/>
                  </a:cubicBezTo>
                  <a:cubicBezTo>
                    <a:pt x="871" y="562"/>
                    <a:pt x="871" y="562"/>
                    <a:pt x="871" y="562"/>
                  </a:cubicBezTo>
                  <a:cubicBezTo>
                    <a:pt x="888" y="548"/>
                    <a:pt x="878" y="520"/>
                    <a:pt x="855" y="520"/>
                  </a:cubicBezTo>
                  <a:moveTo>
                    <a:pt x="713" y="160"/>
                  </a:moveTo>
                  <a:cubicBezTo>
                    <a:pt x="400" y="160"/>
                    <a:pt x="400" y="160"/>
                    <a:pt x="400" y="160"/>
                  </a:cubicBezTo>
                  <a:cubicBezTo>
                    <a:pt x="400" y="54"/>
                    <a:pt x="400" y="54"/>
                    <a:pt x="400" y="54"/>
                  </a:cubicBezTo>
                  <a:lnTo>
                    <a:pt x="713" y="160"/>
                  </a:lnTo>
                  <a:close/>
                  <a:moveTo>
                    <a:pt x="160" y="160"/>
                  </a:moveTo>
                  <a:cubicBezTo>
                    <a:pt x="85" y="160"/>
                    <a:pt x="85" y="160"/>
                    <a:pt x="85" y="160"/>
                  </a:cubicBezTo>
                  <a:cubicBezTo>
                    <a:pt x="160" y="84"/>
                    <a:pt x="160" y="84"/>
                    <a:pt x="160" y="84"/>
                  </a:cubicBezTo>
                  <a:lnTo>
                    <a:pt x="160" y="160"/>
                  </a:lnTo>
                  <a:close/>
                  <a:moveTo>
                    <a:pt x="320" y="720"/>
                  </a:moveTo>
                  <a:cubicBezTo>
                    <a:pt x="240" y="720"/>
                    <a:pt x="240" y="720"/>
                    <a:pt x="240" y="720"/>
                  </a:cubicBezTo>
                  <a:cubicBezTo>
                    <a:pt x="240" y="640"/>
                    <a:pt x="240" y="640"/>
                    <a:pt x="240" y="640"/>
                  </a:cubicBezTo>
                  <a:cubicBezTo>
                    <a:pt x="320" y="640"/>
                    <a:pt x="320" y="640"/>
                    <a:pt x="320" y="640"/>
                  </a:cubicBezTo>
                  <a:lnTo>
                    <a:pt x="320" y="720"/>
                  </a:lnTo>
                  <a:close/>
                  <a:moveTo>
                    <a:pt x="320" y="560"/>
                  </a:moveTo>
                  <a:cubicBezTo>
                    <a:pt x="240" y="560"/>
                    <a:pt x="240" y="560"/>
                    <a:pt x="240" y="560"/>
                  </a:cubicBezTo>
                  <a:cubicBezTo>
                    <a:pt x="240" y="480"/>
                    <a:pt x="240" y="480"/>
                    <a:pt x="240" y="480"/>
                  </a:cubicBezTo>
                  <a:cubicBezTo>
                    <a:pt x="320" y="480"/>
                    <a:pt x="320" y="480"/>
                    <a:pt x="320" y="480"/>
                  </a:cubicBezTo>
                  <a:lnTo>
                    <a:pt x="320" y="560"/>
                  </a:lnTo>
                  <a:close/>
                  <a:moveTo>
                    <a:pt x="240" y="800"/>
                  </a:moveTo>
                  <a:cubicBezTo>
                    <a:pt x="320" y="800"/>
                    <a:pt x="320" y="800"/>
                    <a:pt x="320" y="800"/>
                  </a:cubicBezTo>
                  <a:cubicBezTo>
                    <a:pt x="320" y="880"/>
                    <a:pt x="320" y="880"/>
                    <a:pt x="320" y="880"/>
                  </a:cubicBezTo>
                  <a:cubicBezTo>
                    <a:pt x="240" y="880"/>
                    <a:pt x="240" y="880"/>
                    <a:pt x="240" y="880"/>
                  </a:cubicBezTo>
                  <a:lnTo>
                    <a:pt x="240" y="800"/>
                  </a:lnTo>
                  <a:close/>
                  <a:moveTo>
                    <a:pt x="320" y="400"/>
                  </a:moveTo>
                  <a:cubicBezTo>
                    <a:pt x="240" y="400"/>
                    <a:pt x="240" y="400"/>
                    <a:pt x="240" y="400"/>
                  </a:cubicBezTo>
                  <a:cubicBezTo>
                    <a:pt x="240" y="320"/>
                    <a:pt x="240" y="320"/>
                    <a:pt x="240" y="320"/>
                  </a:cubicBezTo>
                  <a:cubicBezTo>
                    <a:pt x="320" y="320"/>
                    <a:pt x="320" y="320"/>
                    <a:pt x="320" y="320"/>
                  </a:cubicBezTo>
                  <a:lnTo>
                    <a:pt x="320" y="400"/>
                  </a:lnTo>
                  <a:close/>
                  <a:moveTo>
                    <a:pt x="760" y="320"/>
                  </a:moveTo>
                  <a:cubicBezTo>
                    <a:pt x="800" y="320"/>
                    <a:pt x="800" y="320"/>
                    <a:pt x="800" y="320"/>
                  </a:cubicBezTo>
                  <a:cubicBezTo>
                    <a:pt x="800" y="520"/>
                    <a:pt x="800" y="520"/>
                    <a:pt x="800" y="520"/>
                  </a:cubicBezTo>
                  <a:cubicBezTo>
                    <a:pt x="760" y="520"/>
                    <a:pt x="760" y="520"/>
                    <a:pt x="760" y="520"/>
                  </a:cubicBezTo>
                  <a:lnTo>
                    <a:pt x="760" y="320"/>
                  </a:lnTo>
                  <a:close/>
                </a:path>
              </a:pathLst>
            </a:custGeom>
            <a:solidFill>
              <a:srgbClr val="EDDC9D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4481"/>
                </a:solidFill>
              </a:endParaRPr>
            </a:p>
          </p:txBody>
        </p:sp>
        <p:sp>
          <p:nvSpPr>
            <p:cNvPr id="17" name="Freeform 67"/>
            <p:cNvSpPr>
              <a:spLocks/>
            </p:cNvSpPr>
            <p:nvPr/>
          </p:nvSpPr>
          <p:spPr bwMode="auto">
            <a:xfrm>
              <a:off x="4319580" y="2344083"/>
              <a:ext cx="164651" cy="219808"/>
            </a:xfrm>
            <a:custGeom>
              <a:avLst/>
              <a:gdLst>
                <a:gd name="T0" fmla="*/ 360 w 720"/>
                <a:gd name="T1" fmla="*/ 0 h 960"/>
                <a:gd name="T2" fmla="*/ 0 w 720"/>
                <a:gd name="T3" fmla="*/ 568 h 960"/>
                <a:gd name="T4" fmla="*/ 340 w 720"/>
                <a:gd name="T5" fmla="*/ 960 h 960"/>
                <a:gd name="T6" fmla="*/ 340 w 720"/>
                <a:gd name="T7" fmla="*/ 849 h 960"/>
                <a:gd name="T8" fmla="*/ 146 w 720"/>
                <a:gd name="T9" fmla="*/ 655 h 960"/>
                <a:gd name="T10" fmla="*/ 174 w 720"/>
                <a:gd name="T11" fmla="*/ 627 h 960"/>
                <a:gd name="T12" fmla="*/ 340 w 720"/>
                <a:gd name="T13" fmla="*/ 793 h 960"/>
                <a:gd name="T14" fmla="*/ 340 w 720"/>
                <a:gd name="T15" fmla="*/ 689 h 960"/>
                <a:gd name="T16" fmla="*/ 146 w 720"/>
                <a:gd name="T17" fmla="*/ 495 h 960"/>
                <a:gd name="T18" fmla="*/ 174 w 720"/>
                <a:gd name="T19" fmla="*/ 467 h 960"/>
                <a:gd name="T20" fmla="*/ 340 w 720"/>
                <a:gd name="T21" fmla="*/ 633 h 960"/>
                <a:gd name="T22" fmla="*/ 340 w 720"/>
                <a:gd name="T23" fmla="*/ 529 h 960"/>
                <a:gd name="T24" fmla="*/ 186 w 720"/>
                <a:gd name="T25" fmla="*/ 375 h 960"/>
                <a:gd name="T26" fmla="*/ 214 w 720"/>
                <a:gd name="T27" fmla="*/ 347 h 960"/>
                <a:gd name="T28" fmla="*/ 340 w 720"/>
                <a:gd name="T29" fmla="*/ 473 h 960"/>
                <a:gd name="T30" fmla="*/ 340 w 720"/>
                <a:gd name="T31" fmla="*/ 369 h 960"/>
                <a:gd name="T32" fmla="*/ 266 w 720"/>
                <a:gd name="T33" fmla="*/ 295 h 960"/>
                <a:gd name="T34" fmla="*/ 294 w 720"/>
                <a:gd name="T35" fmla="*/ 267 h 960"/>
                <a:gd name="T36" fmla="*/ 340 w 720"/>
                <a:gd name="T37" fmla="*/ 313 h 960"/>
                <a:gd name="T38" fmla="*/ 340 w 720"/>
                <a:gd name="T39" fmla="*/ 161 h 960"/>
                <a:gd name="T40" fmla="*/ 380 w 720"/>
                <a:gd name="T41" fmla="*/ 161 h 960"/>
                <a:gd name="T42" fmla="*/ 380 w 720"/>
                <a:gd name="T43" fmla="*/ 313 h 960"/>
                <a:gd name="T44" fmla="*/ 426 w 720"/>
                <a:gd name="T45" fmla="*/ 267 h 960"/>
                <a:gd name="T46" fmla="*/ 454 w 720"/>
                <a:gd name="T47" fmla="*/ 295 h 960"/>
                <a:gd name="T48" fmla="*/ 380 w 720"/>
                <a:gd name="T49" fmla="*/ 369 h 960"/>
                <a:gd name="T50" fmla="*/ 380 w 720"/>
                <a:gd name="T51" fmla="*/ 473 h 960"/>
                <a:gd name="T52" fmla="*/ 506 w 720"/>
                <a:gd name="T53" fmla="*/ 347 h 960"/>
                <a:gd name="T54" fmla="*/ 534 w 720"/>
                <a:gd name="T55" fmla="*/ 375 h 960"/>
                <a:gd name="T56" fmla="*/ 380 w 720"/>
                <a:gd name="T57" fmla="*/ 529 h 960"/>
                <a:gd name="T58" fmla="*/ 380 w 720"/>
                <a:gd name="T59" fmla="*/ 633 h 960"/>
                <a:gd name="T60" fmla="*/ 546 w 720"/>
                <a:gd name="T61" fmla="*/ 467 h 960"/>
                <a:gd name="T62" fmla="*/ 574 w 720"/>
                <a:gd name="T63" fmla="*/ 495 h 960"/>
                <a:gd name="T64" fmla="*/ 380 w 720"/>
                <a:gd name="T65" fmla="*/ 689 h 960"/>
                <a:gd name="T66" fmla="*/ 380 w 720"/>
                <a:gd name="T67" fmla="*/ 793 h 960"/>
                <a:gd name="T68" fmla="*/ 546 w 720"/>
                <a:gd name="T69" fmla="*/ 627 h 960"/>
                <a:gd name="T70" fmla="*/ 574 w 720"/>
                <a:gd name="T71" fmla="*/ 655 h 960"/>
                <a:gd name="T72" fmla="*/ 380 w 720"/>
                <a:gd name="T73" fmla="*/ 849 h 960"/>
                <a:gd name="T74" fmla="*/ 380 w 720"/>
                <a:gd name="T75" fmla="*/ 960 h 960"/>
                <a:gd name="T76" fmla="*/ 720 w 720"/>
                <a:gd name="T77" fmla="*/ 568 h 960"/>
                <a:gd name="T78" fmla="*/ 360 w 720"/>
                <a:gd name="T79" fmla="*/ 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20" h="960">
                  <a:moveTo>
                    <a:pt x="360" y="0"/>
                  </a:moveTo>
                  <a:cubicBezTo>
                    <a:pt x="360" y="0"/>
                    <a:pt x="0" y="218"/>
                    <a:pt x="0" y="568"/>
                  </a:cubicBezTo>
                  <a:cubicBezTo>
                    <a:pt x="0" y="776"/>
                    <a:pt x="195" y="945"/>
                    <a:pt x="340" y="960"/>
                  </a:cubicBezTo>
                  <a:cubicBezTo>
                    <a:pt x="340" y="849"/>
                    <a:pt x="340" y="849"/>
                    <a:pt x="340" y="849"/>
                  </a:cubicBezTo>
                  <a:cubicBezTo>
                    <a:pt x="146" y="655"/>
                    <a:pt x="146" y="655"/>
                    <a:pt x="146" y="655"/>
                  </a:cubicBezTo>
                  <a:cubicBezTo>
                    <a:pt x="174" y="627"/>
                    <a:pt x="174" y="627"/>
                    <a:pt x="174" y="627"/>
                  </a:cubicBezTo>
                  <a:cubicBezTo>
                    <a:pt x="340" y="793"/>
                    <a:pt x="340" y="793"/>
                    <a:pt x="340" y="793"/>
                  </a:cubicBezTo>
                  <a:cubicBezTo>
                    <a:pt x="340" y="689"/>
                    <a:pt x="340" y="689"/>
                    <a:pt x="340" y="689"/>
                  </a:cubicBezTo>
                  <a:cubicBezTo>
                    <a:pt x="146" y="495"/>
                    <a:pt x="146" y="495"/>
                    <a:pt x="146" y="495"/>
                  </a:cubicBezTo>
                  <a:cubicBezTo>
                    <a:pt x="174" y="467"/>
                    <a:pt x="174" y="467"/>
                    <a:pt x="174" y="467"/>
                  </a:cubicBezTo>
                  <a:cubicBezTo>
                    <a:pt x="340" y="633"/>
                    <a:pt x="340" y="633"/>
                    <a:pt x="340" y="633"/>
                  </a:cubicBezTo>
                  <a:cubicBezTo>
                    <a:pt x="340" y="529"/>
                    <a:pt x="340" y="529"/>
                    <a:pt x="340" y="529"/>
                  </a:cubicBezTo>
                  <a:cubicBezTo>
                    <a:pt x="186" y="375"/>
                    <a:pt x="186" y="375"/>
                    <a:pt x="186" y="375"/>
                  </a:cubicBezTo>
                  <a:cubicBezTo>
                    <a:pt x="214" y="347"/>
                    <a:pt x="214" y="347"/>
                    <a:pt x="214" y="347"/>
                  </a:cubicBezTo>
                  <a:cubicBezTo>
                    <a:pt x="340" y="473"/>
                    <a:pt x="340" y="473"/>
                    <a:pt x="340" y="473"/>
                  </a:cubicBezTo>
                  <a:cubicBezTo>
                    <a:pt x="340" y="369"/>
                    <a:pt x="340" y="369"/>
                    <a:pt x="340" y="369"/>
                  </a:cubicBezTo>
                  <a:cubicBezTo>
                    <a:pt x="266" y="295"/>
                    <a:pt x="266" y="295"/>
                    <a:pt x="266" y="295"/>
                  </a:cubicBezTo>
                  <a:cubicBezTo>
                    <a:pt x="294" y="267"/>
                    <a:pt x="294" y="267"/>
                    <a:pt x="294" y="267"/>
                  </a:cubicBezTo>
                  <a:cubicBezTo>
                    <a:pt x="340" y="313"/>
                    <a:pt x="340" y="313"/>
                    <a:pt x="340" y="313"/>
                  </a:cubicBezTo>
                  <a:cubicBezTo>
                    <a:pt x="340" y="161"/>
                    <a:pt x="340" y="161"/>
                    <a:pt x="340" y="161"/>
                  </a:cubicBezTo>
                  <a:cubicBezTo>
                    <a:pt x="380" y="161"/>
                    <a:pt x="380" y="161"/>
                    <a:pt x="380" y="161"/>
                  </a:cubicBezTo>
                  <a:cubicBezTo>
                    <a:pt x="380" y="313"/>
                    <a:pt x="380" y="313"/>
                    <a:pt x="380" y="313"/>
                  </a:cubicBezTo>
                  <a:cubicBezTo>
                    <a:pt x="426" y="267"/>
                    <a:pt x="426" y="267"/>
                    <a:pt x="426" y="267"/>
                  </a:cubicBezTo>
                  <a:cubicBezTo>
                    <a:pt x="454" y="295"/>
                    <a:pt x="454" y="295"/>
                    <a:pt x="454" y="295"/>
                  </a:cubicBezTo>
                  <a:cubicBezTo>
                    <a:pt x="380" y="369"/>
                    <a:pt x="380" y="369"/>
                    <a:pt x="380" y="369"/>
                  </a:cubicBezTo>
                  <a:cubicBezTo>
                    <a:pt x="380" y="473"/>
                    <a:pt x="380" y="473"/>
                    <a:pt x="380" y="473"/>
                  </a:cubicBezTo>
                  <a:cubicBezTo>
                    <a:pt x="506" y="347"/>
                    <a:pt x="506" y="347"/>
                    <a:pt x="506" y="347"/>
                  </a:cubicBezTo>
                  <a:cubicBezTo>
                    <a:pt x="534" y="375"/>
                    <a:pt x="534" y="375"/>
                    <a:pt x="534" y="375"/>
                  </a:cubicBezTo>
                  <a:cubicBezTo>
                    <a:pt x="380" y="529"/>
                    <a:pt x="380" y="529"/>
                    <a:pt x="380" y="529"/>
                  </a:cubicBezTo>
                  <a:cubicBezTo>
                    <a:pt x="380" y="633"/>
                    <a:pt x="380" y="633"/>
                    <a:pt x="380" y="633"/>
                  </a:cubicBezTo>
                  <a:cubicBezTo>
                    <a:pt x="546" y="467"/>
                    <a:pt x="546" y="467"/>
                    <a:pt x="546" y="467"/>
                  </a:cubicBezTo>
                  <a:cubicBezTo>
                    <a:pt x="574" y="495"/>
                    <a:pt x="574" y="495"/>
                    <a:pt x="574" y="495"/>
                  </a:cubicBezTo>
                  <a:cubicBezTo>
                    <a:pt x="380" y="689"/>
                    <a:pt x="380" y="689"/>
                    <a:pt x="380" y="689"/>
                  </a:cubicBezTo>
                  <a:cubicBezTo>
                    <a:pt x="380" y="793"/>
                    <a:pt x="380" y="793"/>
                    <a:pt x="380" y="793"/>
                  </a:cubicBezTo>
                  <a:cubicBezTo>
                    <a:pt x="546" y="627"/>
                    <a:pt x="546" y="627"/>
                    <a:pt x="546" y="627"/>
                  </a:cubicBezTo>
                  <a:cubicBezTo>
                    <a:pt x="574" y="655"/>
                    <a:pt x="574" y="655"/>
                    <a:pt x="574" y="655"/>
                  </a:cubicBezTo>
                  <a:cubicBezTo>
                    <a:pt x="380" y="849"/>
                    <a:pt x="380" y="849"/>
                    <a:pt x="380" y="849"/>
                  </a:cubicBezTo>
                  <a:cubicBezTo>
                    <a:pt x="380" y="960"/>
                    <a:pt x="380" y="960"/>
                    <a:pt x="380" y="960"/>
                  </a:cubicBezTo>
                  <a:cubicBezTo>
                    <a:pt x="535" y="947"/>
                    <a:pt x="720" y="777"/>
                    <a:pt x="720" y="568"/>
                  </a:cubicBezTo>
                  <a:cubicBezTo>
                    <a:pt x="720" y="218"/>
                    <a:pt x="360" y="0"/>
                    <a:pt x="360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4481"/>
                </a:solidFill>
              </a:endParaRPr>
            </a:p>
          </p:txBody>
        </p:sp>
        <p:grpSp>
          <p:nvGrpSpPr>
            <p:cNvPr id="18" name="19502 Grupo"/>
            <p:cNvGrpSpPr/>
            <p:nvPr/>
          </p:nvGrpSpPr>
          <p:grpSpPr>
            <a:xfrm rot="8100000">
              <a:off x="3592290" y="1491466"/>
              <a:ext cx="3247559" cy="3157460"/>
              <a:chOff x="3232260" y="2327826"/>
              <a:chExt cx="1661401" cy="1609177"/>
            </a:xfr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grpSpPr>
          <p:sp>
            <p:nvSpPr>
              <p:cNvPr id="19" name="Freeform 73"/>
              <p:cNvSpPr>
                <a:spLocks/>
              </p:cNvSpPr>
              <p:nvPr/>
            </p:nvSpPr>
            <p:spPr bwMode="auto">
              <a:xfrm>
                <a:off x="3232260" y="2424317"/>
                <a:ext cx="577850" cy="874713"/>
              </a:xfrm>
              <a:custGeom>
                <a:avLst/>
                <a:gdLst>
                  <a:gd name="T0" fmla="*/ 8071 w 8217"/>
                  <a:gd name="T1" fmla="*/ 0 h 12433"/>
                  <a:gd name="T2" fmla="*/ 1569 w 8217"/>
                  <a:gd name="T3" fmla="*/ 12186 h 12433"/>
                  <a:gd name="T4" fmla="*/ 1648 w 8217"/>
                  <a:gd name="T5" fmla="*/ 12433 h 12433"/>
                  <a:gd name="T6" fmla="*/ 2125 w 8217"/>
                  <a:gd name="T7" fmla="*/ 12274 h 12433"/>
                  <a:gd name="T8" fmla="*/ 7982 w 8217"/>
                  <a:gd name="T9" fmla="*/ 556 h 12433"/>
                  <a:gd name="T10" fmla="*/ 8217 w 8217"/>
                  <a:gd name="T11" fmla="*/ 481 h 12433"/>
                  <a:gd name="T12" fmla="*/ 8071 w 8217"/>
                  <a:gd name="T13" fmla="*/ 0 h 12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17" h="12433">
                    <a:moveTo>
                      <a:pt x="8071" y="0"/>
                    </a:moveTo>
                    <a:cubicBezTo>
                      <a:pt x="2911" y="1570"/>
                      <a:pt x="0" y="7025"/>
                      <a:pt x="1569" y="12186"/>
                    </a:cubicBezTo>
                    <a:cubicBezTo>
                      <a:pt x="1594" y="12268"/>
                      <a:pt x="1620" y="12351"/>
                      <a:pt x="1648" y="12433"/>
                    </a:cubicBezTo>
                    <a:lnTo>
                      <a:pt x="2125" y="12274"/>
                    </a:lnTo>
                    <a:cubicBezTo>
                      <a:pt x="506" y="7421"/>
                      <a:pt x="3129" y="2174"/>
                      <a:pt x="7982" y="556"/>
                    </a:cubicBezTo>
                    <a:cubicBezTo>
                      <a:pt x="8060" y="530"/>
                      <a:pt x="8139" y="505"/>
                      <a:pt x="8217" y="481"/>
                    </a:cubicBezTo>
                    <a:lnTo>
                      <a:pt x="8071" y="0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>
                  <a:solidFill>
                    <a:srgbClr val="004481"/>
                  </a:solidFill>
                </a:endParaRPr>
              </a:p>
            </p:txBody>
          </p:sp>
          <p:sp>
            <p:nvSpPr>
              <p:cNvPr id="20" name="Freeform 77"/>
              <p:cNvSpPr>
                <a:spLocks/>
              </p:cNvSpPr>
              <p:nvPr/>
            </p:nvSpPr>
            <p:spPr bwMode="auto">
              <a:xfrm>
                <a:off x="3833513" y="2327826"/>
                <a:ext cx="654050" cy="217488"/>
              </a:xfrm>
              <a:custGeom>
                <a:avLst/>
                <a:gdLst>
                  <a:gd name="T0" fmla="*/ 9310 w 9310"/>
                  <a:gd name="T1" fmla="*/ 2706 h 3102"/>
                  <a:gd name="T2" fmla="*/ 0 w 9310"/>
                  <a:gd name="T3" fmla="*/ 973 h 3102"/>
                  <a:gd name="T4" fmla="*/ 146 w 9310"/>
                  <a:gd name="T5" fmla="*/ 1454 h 3102"/>
                  <a:gd name="T6" fmla="*/ 9000 w 9310"/>
                  <a:gd name="T7" fmla="*/ 3102 h 3102"/>
                  <a:gd name="T8" fmla="*/ 9310 w 9310"/>
                  <a:gd name="T9" fmla="*/ 2706 h 3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10" h="3102">
                    <a:moveTo>
                      <a:pt x="9310" y="2706"/>
                    </a:moveTo>
                    <a:cubicBezTo>
                      <a:pt x="6674" y="647"/>
                      <a:pt x="3200" y="0"/>
                      <a:pt x="0" y="973"/>
                    </a:cubicBezTo>
                    <a:lnTo>
                      <a:pt x="146" y="1454"/>
                    </a:lnTo>
                    <a:cubicBezTo>
                      <a:pt x="3190" y="529"/>
                      <a:pt x="6493" y="1144"/>
                      <a:pt x="9000" y="3102"/>
                    </a:cubicBezTo>
                    <a:lnTo>
                      <a:pt x="9310" y="2706"/>
                    </a:lnTo>
                    <a:close/>
                  </a:path>
                </a:pathLst>
              </a:custGeom>
              <a:solidFill>
                <a:srgbClr val="EDDC9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>
                  <a:solidFill>
                    <a:srgbClr val="004481"/>
                  </a:solidFill>
                </a:endParaRPr>
              </a:p>
            </p:txBody>
          </p:sp>
          <p:sp>
            <p:nvSpPr>
              <p:cNvPr id="21" name="Freeform 78"/>
              <p:cNvSpPr>
                <a:spLocks/>
              </p:cNvSpPr>
              <p:nvPr/>
            </p:nvSpPr>
            <p:spPr bwMode="auto">
              <a:xfrm>
                <a:off x="3360136" y="2520952"/>
                <a:ext cx="1533525" cy="1416051"/>
              </a:xfrm>
              <a:custGeom>
                <a:avLst/>
                <a:gdLst>
                  <a:gd name="T0" fmla="*/ 0 w 22319"/>
                  <a:gd name="T1" fmla="*/ 11895 h 20588"/>
                  <a:gd name="T2" fmla="*/ 13626 w 22319"/>
                  <a:gd name="T3" fmla="*/ 18706 h 20588"/>
                  <a:gd name="T4" fmla="*/ 20437 w 22319"/>
                  <a:gd name="T5" fmla="*/ 5081 h 20588"/>
                  <a:gd name="T6" fmla="*/ 16850 w 22319"/>
                  <a:gd name="T7" fmla="*/ 0 h 20588"/>
                  <a:gd name="T8" fmla="*/ 16541 w 22319"/>
                  <a:gd name="T9" fmla="*/ 396 h 20588"/>
                  <a:gd name="T10" fmla="*/ 18311 w 22319"/>
                  <a:gd name="T11" fmla="*/ 14810 h 20588"/>
                  <a:gd name="T12" fmla="*/ 3896 w 22319"/>
                  <a:gd name="T13" fmla="*/ 16580 h 20588"/>
                  <a:gd name="T14" fmla="*/ 477 w 22319"/>
                  <a:gd name="T15" fmla="*/ 11736 h 20588"/>
                  <a:gd name="T16" fmla="*/ 0 w 22319"/>
                  <a:gd name="T17" fmla="*/ 11895 h 20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319" h="20588">
                    <a:moveTo>
                      <a:pt x="0" y="11895"/>
                    </a:moveTo>
                    <a:cubicBezTo>
                      <a:pt x="1882" y="17539"/>
                      <a:pt x="7982" y="20588"/>
                      <a:pt x="13626" y="18706"/>
                    </a:cubicBezTo>
                    <a:cubicBezTo>
                      <a:pt x="19269" y="16825"/>
                      <a:pt x="22319" y="10724"/>
                      <a:pt x="20437" y="5081"/>
                    </a:cubicBezTo>
                    <a:cubicBezTo>
                      <a:pt x="19767" y="3071"/>
                      <a:pt x="18519" y="1304"/>
                      <a:pt x="16850" y="0"/>
                    </a:cubicBezTo>
                    <a:lnTo>
                      <a:pt x="16541" y="396"/>
                    </a:lnTo>
                    <a:cubicBezTo>
                      <a:pt x="21010" y="3888"/>
                      <a:pt x="21802" y="10341"/>
                      <a:pt x="18311" y="14810"/>
                    </a:cubicBezTo>
                    <a:cubicBezTo>
                      <a:pt x="14819" y="19279"/>
                      <a:pt x="8366" y="20072"/>
                      <a:pt x="3896" y="16580"/>
                    </a:cubicBezTo>
                    <a:cubicBezTo>
                      <a:pt x="2305" y="15337"/>
                      <a:pt x="1116" y="13652"/>
                      <a:pt x="477" y="11736"/>
                    </a:cubicBezTo>
                    <a:lnTo>
                      <a:pt x="0" y="11895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>
                  <a:solidFill>
                    <a:srgbClr val="004481"/>
                  </a:solidFill>
                </a:endParaRPr>
              </a:p>
            </p:txBody>
          </p:sp>
        </p:grpSp>
        <p:pic>
          <p:nvPicPr>
            <p:cNvPr id="22" name="44 Imagen"/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4415" y="2180138"/>
              <a:ext cx="325624" cy="296828"/>
            </a:xfrm>
            <a:prstGeom prst="rect">
              <a:avLst/>
            </a:prstGeom>
          </p:spPr>
        </p:pic>
      </p:grpSp>
      <p:grpSp>
        <p:nvGrpSpPr>
          <p:cNvPr id="23" name="64 Grupo"/>
          <p:cNvGrpSpPr/>
          <p:nvPr/>
        </p:nvGrpSpPr>
        <p:grpSpPr>
          <a:xfrm>
            <a:off x="10324713" y="458231"/>
            <a:ext cx="1681580" cy="539539"/>
            <a:chOff x="7743534" y="770296"/>
            <a:chExt cx="1261185" cy="404654"/>
          </a:xfrm>
        </p:grpSpPr>
        <p:sp>
          <p:nvSpPr>
            <p:cNvPr id="24" name="65 Elipse"/>
            <p:cNvSpPr/>
            <p:nvPr/>
          </p:nvSpPr>
          <p:spPr>
            <a:xfrm>
              <a:off x="8671233" y="789775"/>
              <a:ext cx="252517" cy="252517"/>
            </a:xfrm>
            <a:prstGeom prst="ellipse">
              <a:avLst/>
            </a:prstGeom>
            <a:solidFill>
              <a:srgbClr val="F4F4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rgbClr val="FFFFFF"/>
                </a:solidFill>
              </a:endParaRPr>
            </a:p>
          </p:txBody>
        </p:sp>
        <p:pic>
          <p:nvPicPr>
            <p:cNvPr id="25" name="Picture 2"/>
            <p:cNvPicPr>
              <a:picLocks noChangeAspect="1" noChangeArrowheads="1"/>
            </p:cNvPicPr>
            <p:nvPr/>
          </p:nvPicPr>
          <p:blipFill>
            <a:blip r:embed="rId5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1233" y="811749"/>
              <a:ext cx="219528" cy="2387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6" name="67 Elipse"/>
            <p:cNvSpPr/>
            <p:nvPr/>
          </p:nvSpPr>
          <p:spPr>
            <a:xfrm>
              <a:off x="8226822" y="788946"/>
              <a:ext cx="252517" cy="252517"/>
            </a:xfrm>
            <a:prstGeom prst="ellipse">
              <a:avLst/>
            </a:prstGeom>
            <a:solidFill>
              <a:srgbClr val="F4F4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rgbClr val="FFFFFF"/>
                </a:solidFill>
              </a:endParaRPr>
            </a:p>
          </p:txBody>
        </p:sp>
        <p:pic>
          <p:nvPicPr>
            <p:cNvPr id="27" name="Picture 5"/>
            <p:cNvPicPr>
              <a:picLocks noChangeAspect="1" noChangeArrowheads="1"/>
            </p:cNvPicPr>
            <p:nvPr/>
          </p:nvPicPr>
          <p:blipFill>
            <a:blip r:embed="rId6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0142" y="770296"/>
              <a:ext cx="303240" cy="289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69 Elipse"/>
            <p:cNvSpPr/>
            <p:nvPr/>
          </p:nvSpPr>
          <p:spPr>
            <a:xfrm>
              <a:off x="7817180" y="788946"/>
              <a:ext cx="252517" cy="252517"/>
            </a:xfrm>
            <a:prstGeom prst="ellipse">
              <a:avLst/>
            </a:prstGeom>
            <a:solidFill>
              <a:srgbClr val="EAF9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rgbClr val="FFFFFF"/>
                </a:solidFill>
              </a:endParaRPr>
            </a:p>
          </p:txBody>
        </p:sp>
        <p:pic>
          <p:nvPicPr>
            <p:cNvPr id="29" name="Picture 6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25386" y="819804"/>
              <a:ext cx="214350" cy="1908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0" name="Shape 84"/>
            <p:cNvSpPr txBox="1">
              <a:spLocks/>
            </p:cNvSpPr>
            <p:nvPr/>
          </p:nvSpPr>
          <p:spPr>
            <a:xfrm>
              <a:off x="7743534" y="1060113"/>
              <a:ext cx="396000" cy="114837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en-US"/>
              </a:defPPr>
              <a:lvl1pPr defTabSz="45720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600" b="1"/>
              </a:lvl1pPr>
            </a:lstStyle>
            <a:p>
              <a:pPr algn="ctr"/>
              <a:r>
                <a:rPr lang="en-US" sz="800" dirty="0">
                  <a:solidFill>
                    <a:srgbClr val="02A5A5"/>
                  </a:solidFill>
                </a:rPr>
                <a:t>To finance</a:t>
              </a:r>
            </a:p>
          </p:txBody>
        </p:sp>
        <p:sp>
          <p:nvSpPr>
            <p:cNvPr id="31" name="Shape 84"/>
            <p:cNvSpPr txBox="1">
              <a:spLocks/>
            </p:cNvSpPr>
            <p:nvPr/>
          </p:nvSpPr>
          <p:spPr>
            <a:xfrm>
              <a:off x="8159001" y="1060113"/>
              <a:ext cx="449717" cy="114837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en-US"/>
              </a:defPPr>
              <a:lvl1pPr defTabSz="45720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600" b="1"/>
              </a:lvl1pPr>
            </a:lstStyle>
            <a:p>
              <a:pPr algn="ctr"/>
              <a:r>
                <a:rPr lang="en-US" sz="800" dirty="0">
                  <a:solidFill>
                    <a:srgbClr val="D3D3D3"/>
                  </a:solidFill>
                </a:rPr>
                <a:t>To manage</a:t>
              </a:r>
            </a:p>
          </p:txBody>
        </p:sp>
        <p:sp>
          <p:nvSpPr>
            <p:cNvPr id="32" name="Shape 84"/>
            <p:cNvSpPr txBox="1">
              <a:spLocks/>
            </p:cNvSpPr>
            <p:nvPr/>
          </p:nvSpPr>
          <p:spPr>
            <a:xfrm>
              <a:off x="8608719" y="1060113"/>
              <a:ext cx="396000" cy="114837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en-US"/>
              </a:defPPr>
              <a:lvl1pPr defTabSz="45720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600" b="1"/>
              </a:lvl1pPr>
            </a:lstStyle>
            <a:p>
              <a:pPr algn="ctr"/>
              <a:r>
                <a:rPr lang="en-US" sz="800" dirty="0">
                  <a:solidFill>
                    <a:srgbClr val="D3D3D3"/>
                  </a:solidFill>
                </a:rPr>
                <a:t>To engage</a:t>
              </a:r>
            </a:p>
          </p:txBody>
        </p:sp>
      </p:grpSp>
      <p:pic>
        <p:nvPicPr>
          <p:cNvPr id="34" name="Picture 9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0" t="33965" r="52038" b="43039"/>
          <a:stretch/>
        </p:blipFill>
        <p:spPr bwMode="auto">
          <a:xfrm>
            <a:off x="3657092" y="5054071"/>
            <a:ext cx="493745" cy="489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79" t="34066" r="18881" b="43883"/>
          <a:stretch/>
        </p:blipFill>
        <p:spPr bwMode="auto">
          <a:xfrm>
            <a:off x="3649371" y="5640733"/>
            <a:ext cx="524737" cy="495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8" t="33674" r="85462" b="43894"/>
          <a:stretch/>
        </p:blipFill>
        <p:spPr bwMode="auto">
          <a:xfrm>
            <a:off x="418601" y="4406170"/>
            <a:ext cx="501781" cy="49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8" t="61909" r="85777" b="16213"/>
          <a:stretch/>
        </p:blipFill>
        <p:spPr bwMode="auto">
          <a:xfrm>
            <a:off x="1595799" y="4422376"/>
            <a:ext cx="498871" cy="483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95" t="6701" r="2900" b="71421"/>
          <a:stretch/>
        </p:blipFill>
        <p:spPr bwMode="auto">
          <a:xfrm>
            <a:off x="1022629" y="4417112"/>
            <a:ext cx="498871" cy="483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3" name="Group 42"/>
          <p:cNvGrpSpPr/>
          <p:nvPr/>
        </p:nvGrpSpPr>
        <p:grpSpPr>
          <a:xfrm>
            <a:off x="5897032" y="1769229"/>
            <a:ext cx="3414771" cy="2588842"/>
            <a:chOff x="6729302" y="1733214"/>
            <a:chExt cx="5169031" cy="2993577"/>
          </a:xfrm>
        </p:grpSpPr>
        <p:sp>
          <p:nvSpPr>
            <p:cNvPr id="8" name="Rectangle 14"/>
            <p:cNvSpPr>
              <a:spLocks noChangeArrowheads="1"/>
            </p:cNvSpPr>
            <p:nvPr/>
          </p:nvSpPr>
          <p:spPr bwMode="auto">
            <a:xfrm>
              <a:off x="6831114" y="2217616"/>
              <a:ext cx="4608511" cy="4753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u="sng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u="sng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u="sng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u="sng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u="sng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u="sng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u="sng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u="sng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u="sng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380990" indent="-380990" eaLnBrk="1" hangingPunct="1">
                <a:lnSpc>
                  <a:spcPct val="95000"/>
                </a:lnSpc>
                <a:spcAft>
                  <a:spcPts val="800"/>
                </a:spcAft>
                <a:buSzPct val="70000"/>
                <a:buBlip>
                  <a:blip r:embed="rId10"/>
                </a:buBlip>
              </a:pPr>
              <a:r>
                <a:rPr lang="en-US" altLang="es-ES" sz="1400" u="none" dirty="0">
                  <a:solidFill>
                    <a:srgbClr val="121212"/>
                  </a:solidFill>
                  <a:latin typeface="BBVABentonSansLight"/>
                </a:rPr>
                <a:t>Lending to underserved</a:t>
              </a:r>
            </a:p>
            <a:p>
              <a:pPr marL="380990" indent="-380990" eaLnBrk="1" hangingPunct="1">
                <a:lnSpc>
                  <a:spcPct val="95000"/>
                </a:lnSpc>
                <a:spcAft>
                  <a:spcPts val="800"/>
                </a:spcAft>
                <a:buSzPct val="70000"/>
                <a:buBlip>
                  <a:blip r:embed="rId10"/>
                </a:buBlip>
              </a:pPr>
              <a:r>
                <a:rPr lang="en-US" altLang="es-ES" sz="1400" u="none" dirty="0">
                  <a:solidFill>
                    <a:srgbClr val="121212"/>
                  </a:solidFill>
                  <a:latin typeface="BBVABentonSansLight"/>
                </a:rPr>
                <a:t>Lending to vulnerable </a:t>
              </a:r>
              <a:r>
                <a:rPr lang="en-US" altLang="es-ES" sz="1400" u="none" dirty="0" err="1">
                  <a:solidFill>
                    <a:srgbClr val="121212"/>
                  </a:solidFill>
                  <a:latin typeface="BBVABentonSansLight"/>
                </a:rPr>
                <a:t>microentrepreneurs</a:t>
              </a:r>
              <a:endParaRPr lang="en-US" altLang="es-ES" sz="1400" u="none" dirty="0">
                <a:solidFill>
                  <a:srgbClr val="121212"/>
                </a:solidFill>
                <a:latin typeface="BBVABentonSansLight"/>
              </a:endParaRPr>
            </a:p>
            <a:p>
              <a:pPr marL="380990" indent="-380990" eaLnBrk="1" hangingPunct="1">
                <a:lnSpc>
                  <a:spcPct val="95000"/>
                </a:lnSpc>
                <a:spcAft>
                  <a:spcPts val="800"/>
                </a:spcAft>
                <a:buSzPct val="70000"/>
                <a:buBlip>
                  <a:blip r:embed="rId10"/>
                </a:buBlip>
              </a:pPr>
              <a:r>
                <a:rPr lang="en-US" altLang="es-ES" sz="1400" u="none" dirty="0">
                  <a:solidFill>
                    <a:srgbClr val="121212"/>
                  </a:solidFill>
                  <a:latin typeface="BBVABentonSansLight"/>
                </a:rPr>
                <a:t>Lending to women entrepreneurs</a:t>
              </a:r>
            </a:p>
            <a:p>
              <a:pPr marL="380990" indent="-380990" eaLnBrk="1" hangingPunct="1">
                <a:lnSpc>
                  <a:spcPct val="95000"/>
                </a:lnSpc>
                <a:spcAft>
                  <a:spcPts val="800"/>
                </a:spcAft>
                <a:buSzPct val="70000"/>
                <a:buBlip>
                  <a:blip r:embed="rId10"/>
                </a:buBlip>
              </a:pPr>
              <a:r>
                <a:rPr lang="en-US" altLang="es-ES" sz="1400" u="none" dirty="0">
                  <a:solidFill>
                    <a:srgbClr val="121212"/>
                  </a:solidFill>
                  <a:latin typeface="BBVABentonSansLight"/>
                </a:rPr>
                <a:t>New digital business</a:t>
              </a:r>
            </a:p>
            <a:p>
              <a:pPr marL="380990" indent="-380990" eaLnBrk="1" hangingPunct="1">
                <a:lnSpc>
                  <a:spcPct val="95000"/>
                </a:lnSpc>
                <a:spcAft>
                  <a:spcPts val="800"/>
                </a:spcAft>
                <a:buSzPct val="70000"/>
                <a:buBlip>
                  <a:blip r:embed="rId10"/>
                </a:buBlip>
              </a:pPr>
              <a:r>
                <a:rPr lang="en-US" altLang="es-ES" sz="1400" u="none" dirty="0">
                  <a:solidFill>
                    <a:srgbClr val="121212"/>
                  </a:solidFill>
                  <a:latin typeface="BBVABentonSansLight"/>
                </a:rPr>
                <a:t>Impact investment</a:t>
              </a:r>
            </a:p>
          </p:txBody>
        </p:sp>
        <p:sp>
          <p:nvSpPr>
            <p:cNvPr id="12" name="43 Rectángulo"/>
            <p:cNvSpPr/>
            <p:nvPr/>
          </p:nvSpPr>
          <p:spPr>
            <a:xfrm>
              <a:off x="6729302" y="1733214"/>
              <a:ext cx="5169031" cy="31410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48000" rIns="0" bIns="48000" rtlCol="0" anchor="ctr">
              <a:noAutofit/>
            </a:bodyPr>
            <a:lstStyle/>
            <a:p>
              <a:r>
                <a:rPr lang="en-US" sz="2000" b="1" dirty="0">
                  <a:solidFill>
                    <a:srgbClr val="2DCCCD"/>
                  </a:solidFill>
                  <a:latin typeface="BBVABentonSans" pitchFamily="50" charset="0"/>
                  <a:ea typeface="ＭＳ Ｐゴシック" pitchFamily="34" charset="-128"/>
                  <a:sym typeface="BBVABentonSans"/>
                </a:rPr>
                <a:t>Financial inclusion &amp; </a:t>
              </a:r>
            </a:p>
            <a:p>
              <a:r>
                <a:rPr lang="en-US" sz="2000" b="1" dirty="0">
                  <a:solidFill>
                    <a:srgbClr val="2DCCCD"/>
                  </a:solidFill>
                  <a:latin typeface="BBVABentonSans" pitchFamily="50" charset="0"/>
                  <a:ea typeface="ＭＳ Ｐゴシック" pitchFamily="34" charset="-128"/>
                  <a:sym typeface="BBVABentonSans"/>
                </a:rPr>
                <a:t>entrepreneurship</a:t>
              </a:r>
            </a:p>
          </p:txBody>
        </p:sp>
        <p:pic>
          <p:nvPicPr>
            <p:cNvPr id="33" name="Picture 3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441" t="33518" r="68698" b="43496"/>
            <a:stretch/>
          </p:blipFill>
          <p:spPr bwMode="auto">
            <a:xfrm>
              <a:off x="7999180" y="4213813"/>
              <a:ext cx="519997" cy="4958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3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046" t="6378" r="19000" b="72298"/>
            <a:stretch/>
          </p:blipFill>
          <p:spPr bwMode="auto">
            <a:xfrm>
              <a:off x="7403592" y="4206820"/>
              <a:ext cx="508685" cy="4958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3"/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94" t="5824" r="85796" b="71190"/>
            <a:stretch/>
          </p:blipFill>
          <p:spPr bwMode="auto">
            <a:xfrm>
              <a:off x="6813552" y="4199295"/>
              <a:ext cx="501781" cy="4958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3"/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833" t="34921" r="35306" b="42093"/>
            <a:stretch/>
          </p:blipFill>
          <p:spPr bwMode="auto">
            <a:xfrm>
              <a:off x="8590600" y="4230982"/>
              <a:ext cx="519997" cy="495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624789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RB GRT Slides Side Screen4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134032" y="4498257"/>
            <a:ext cx="2875935" cy="12536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Become a Founding Signatory on 22</a:t>
            </a:r>
            <a:r>
              <a:rPr lang="en-US" sz="2400" baseline="30000" dirty="0">
                <a:solidFill>
                  <a:schemeClr val="bg1"/>
                </a:solidFill>
              </a:rPr>
              <a:t>nd</a:t>
            </a:r>
            <a:r>
              <a:rPr lang="en-US" sz="2400" dirty="0">
                <a:solidFill>
                  <a:schemeClr val="bg1"/>
                </a:solidFill>
              </a:rPr>
              <a:t> September 2019!</a:t>
            </a:r>
          </a:p>
        </p:txBody>
      </p:sp>
    </p:spTree>
    <p:extLst>
      <p:ext uri="{BB962C8B-B14F-4D97-AF65-F5344CB8AC3E}">
        <p14:creationId xmlns:p14="http://schemas.microsoft.com/office/powerpoint/2010/main" val="347938073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H_RB0lTHCNhROQhasfxw"/>
</p:tagLst>
</file>

<file path=ppt/theme/theme1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45713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45713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45713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45713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026</TotalTime>
  <Words>965</Words>
  <Application>Microsoft Office PowerPoint</Application>
  <PresentationFormat>On-screen Show (4:3)</PresentationFormat>
  <Paragraphs>109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BBVABentonSans</vt:lpstr>
      <vt:lpstr>BBVABentonSansLight</vt:lpstr>
      <vt:lpstr>Lato Light</vt:lpstr>
      <vt:lpstr>MS PGothic</vt:lpstr>
      <vt:lpstr>MS PGothic</vt:lpstr>
      <vt:lpstr>Arial</vt:lpstr>
      <vt:lpstr>Calibri</vt:lpstr>
      <vt:lpstr>Gill Sans MT</vt:lpstr>
      <vt:lpstr>Roboto Regular</vt:lpstr>
      <vt:lpstr>Office Theme</vt:lpstr>
      <vt:lpstr>think-cell Slide</vt:lpstr>
      <vt:lpstr>UNEP Finance Initiative</vt:lpstr>
      <vt:lpstr>Responsible / Sustainable Finance Frameworks</vt:lpstr>
      <vt:lpstr>PowerPoint Presentation</vt:lpstr>
      <vt:lpstr>PowerPoint Presentation</vt:lpstr>
      <vt:lpstr>Impact Radar</vt:lpstr>
      <vt:lpstr>Impact Example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mate Change &amp; Financial Institutions</dc:title>
  <dc:creator>Remco FISCHER</dc:creator>
  <cp:lastModifiedBy>Eric Usher</cp:lastModifiedBy>
  <cp:revision>76</cp:revision>
  <dcterms:modified xsi:type="dcterms:W3CDTF">2019-05-20T10:12:46Z</dcterms:modified>
</cp:coreProperties>
</file>